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8" r:id="rId1"/>
    <p:sldMasterId id="2147483786" r:id="rId2"/>
    <p:sldMasterId id="2147484134" r:id="rId3"/>
  </p:sldMasterIdLst>
  <p:notesMasterIdLst>
    <p:notesMasterId r:id="rId16"/>
  </p:notesMasterIdLst>
  <p:handoutMasterIdLst>
    <p:handoutMasterId r:id="rId17"/>
  </p:handoutMasterIdLst>
  <p:sldIdLst>
    <p:sldId id="301" r:id="rId4"/>
    <p:sldId id="326" r:id="rId5"/>
    <p:sldId id="313" r:id="rId6"/>
    <p:sldId id="323" r:id="rId7"/>
    <p:sldId id="329" r:id="rId8"/>
    <p:sldId id="327" r:id="rId9"/>
    <p:sldId id="316" r:id="rId10"/>
    <p:sldId id="328" r:id="rId11"/>
    <p:sldId id="331" r:id="rId12"/>
    <p:sldId id="318" r:id="rId13"/>
    <p:sldId id="320" r:id="rId14"/>
    <p:sldId id="332" r:id="rId15"/>
  </p:sldIdLst>
  <p:sldSz cx="9144000" cy="6858000" type="screen4x3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23" userDrawn="1">
          <p15:clr>
            <a:srgbClr val="A4A3A4"/>
          </p15:clr>
        </p15:guide>
        <p15:guide id="4" orient="horz" pos="729" userDrawn="1">
          <p15:clr>
            <a:srgbClr val="A4A3A4"/>
          </p15:clr>
        </p15:guide>
        <p15:guide id="5" orient="horz" pos="817" userDrawn="1">
          <p15:clr>
            <a:srgbClr val="A4A3A4"/>
          </p15:clr>
        </p15:guide>
        <p15:guide id="6" orient="horz" pos="3786" userDrawn="1">
          <p15:clr>
            <a:srgbClr val="A4A3A4"/>
          </p15:clr>
        </p15:guide>
        <p15:guide id="7" orient="horz" pos="3815" userDrawn="1">
          <p15:clr>
            <a:srgbClr val="A4A3A4"/>
          </p15:clr>
        </p15:guide>
        <p15:guide id="8" orient="horz" pos="3909" userDrawn="1">
          <p15:clr>
            <a:srgbClr val="A4A3A4"/>
          </p15:clr>
        </p15:guide>
        <p15:guide id="9" pos="222" userDrawn="1">
          <p15:clr>
            <a:srgbClr val="A4A3A4"/>
          </p15:clr>
        </p15:guide>
        <p15:guide id="10" pos="55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42D"/>
    <a:srgbClr val="B4A300"/>
    <a:srgbClr val="663300"/>
    <a:srgbClr val="002E15"/>
    <a:srgbClr val="00421E"/>
    <a:srgbClr val="007A37"/>
    <a:srgbClr val="FCFEE6"/>
    <a:srgbClr val="7C54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4" autoAdjust="0"/>
    <p:restoredTop sz="98401" autoAdjust="0"/>
  </p:normalViewPr>
  <p:slideViewPr>
    <p:cSldViewPr snapToGrid="0" showGuides="1">
      <p:cViewPr>
        <p:scale>
          <a:sx n="66" d="100"/>
          <a:sy n="66" d="100"/>
        </p:scale>
        <p:origin x="-1716" y="-240"/>
      </p:cViewPr>
      <p:guideLst>
        <p:guide orient="horz" pos="2160"/>
        <p:guide orient="horz" pos="123"/>
        <p:guide orient="horz" pos="729"/>
        <p:guide orient="horz" pos="817"/>
        <p:guide orient="horz" pos="3786"/>
        <p:guide orient="horz" pos="3815"/>
        <p:guide orient="horz" pos="3909"/>
        <p:guide pos="2880"/>
        <p:guide pos="222"/>
        <p:guide pos="553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90" y="3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B80387-E466-4018-82C3-6FA8E643CFCF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B2D7FF-E2E4-47C6-B750-3E286B45622E}">
      <dgm:prSet phldrT="[Text]" custT="1"/>
      <dgm:spPr>
        <a:xfrm>
          <a:off x="1256653" y="176564"/>
          <a:ext cx="1341269" cy="1341269"/>
        </a:xfrm>
        <a:solidFill>
          <a:srgbClr val="EEECE1">
            <a:lumMod val="5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1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Лесная коллекция</a:t>
          </a:r>
          <a:endParaRPr lang="en-US" sz="11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6804F285-1238-4AF7-98D7-508AD8766C20}" type="parTrans" cxnId="{CFCE72C3-3C91-4F28-A8E6-C0B61C9CA446}">
      <dgm:prSet/>
      <dgm:spPr/>
      <dgm:t>
        <a:bodyPr/>
        <a:lstStyle/>
        <a:p>
          <a:endParaRPr lang="en-US"/>
        </a:p>
      </dgm:t>
    </dgm:pt>
    <dgm:pt modelId="{9D954CB0-709F-47D0-84D8-3F0FAD1363C7}" type="sibTrans" cxnId="{CFCE72C3-3C91-4F28-A8E6-C0B61C9CA446}">
      <dgm:prSet/>
      <dgm:spPr/>
      <dgm:t>
        <a:bodyPr/>
        <a:lstStyle/>
        <a:p>
          <a:endParaRPr lang="en-US"/>
        </a:p>
      </dgm:t>
    </dgm:pt>
    <dgm:pt modelId="{935C1DD0-D546-4CD6-9A8C-09DF2CFC67FC}">
      <dgm:prSet phldrT="[Text]" custT="1"/>
      <dgm:spPr>
        <a:xfrm rot="5400000">
          <a:off x="2659876" y="176564"/>
          <a:ext cx="1341269" cy="1341269"/>
        </a:xfr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1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Ягодная коллекция</a:t>
          </a:r>
          <a:endParaRPr lang="en-US" sz="11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153D2271-0DDE-4FF8-B8CE-4598E160C0EF}" type="parTrans" cxnId="{49CC1F7C-117C-45E2-BAEE-0C2EF845931E}">
      <dgm:prSet/>
      <dgm:spPr/>
      <dgm:t>
        <a:bodyPr/>
        <a:lstStyle/>
        <a:p>
          <a:endParaRPr lang="en-US"/>
        </a:p>
      </dgm:t>
    </dgm:pt>
    <dgm:pt modelId="{07599AA8-F526-4876-BF2C-88F90BD2D100}" type="sibTrans" cxnId="{49CC1F7C-117C-45E2-BAEE-0C2EF845931E}">
      <dgm:prSet/>
      <dgm:spPr/>
      <dgm:t>
        <a:bodyPr/>
        <a:lstStyle/>
        <a:p>
          <a:endParaRPr lang="en-US"/>
        </a:p>
      </dgm:t>
    </dgm:pt>
    <dgm:pt modelId="{E7E7A169-63C2-486C-B5EE-41EAD36EB496}">
      <dgm:prSet phldrT="[Text]" custT="1"/>
      <dgm:spPr>
        <a:xfrm rot="10800000">
          <a:off x="2659876" y="1579786"/>
          <a:ext cx="1341269" cy="1341269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1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Водная коллекция</a:t>
          </a:r>
          <a:endParaRPr lang="en-US" sz="11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F9617434-BD1F-4AAA-8583-8441EF8D5243}" type="parTrans" cxnId="{8EC90FAD-F8EC-4852-A3BC-3D20CDF8AF2A}">
      <dgm:prSet/>
      <dgm:spPr/>
      <dgm:t>
        <a:bodyPr/>
        <a:lstStyle/>
        <a:p>
          <a:endParaRPr lang="en-US"/>
        </a:p>
      </dgm:t>
    </dgm:pt>
    <dgm:pt modelId="{6F59AEFA-BEEC-49C2-ADFA-EECA3AEACBD4}" type="sibTrans" cxnId="{8EC90FAD-F8EC-4852-A3BC-3D20CDF8AF2A}">
      <dgm:prSet/>
      <dgm:spPr/>
      <dgm:t>
        <a:bodyPr/>
        <a:lstStyle/>
        <a:p>
          <a:endParaRPr lang="en-US"/>
        </a:p>
      </dgm:t>
    </dgm:pt>
    <dgm:pt modelId="{90249FAB-3B8B-4B24-8B52-186AFDC82A61}">
      <dgm:prSet phldrT="[Text]" custT="1"/>
      <dgm:spPr>
        <a:xfrm rot="16200000">
          <a:off x="1256653" y="1579786"/>
          <a:ext cx="1341269" cy="1341269"/>
        </a:xfrm>
        <a:solidFill>
          <a:srgbClr val="92D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9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Растительная</a:t>
          </a:r>
        </a:p>
        <a:p>
          <a:r>
            <a:rPr lang="ru-RU" sz="9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коллекция</a:t>
          </a:r>
          <a:endParaRPr lang="en-US" sz="9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A54A4C91-A85B-4CB8-B31B-06BE582315F8}" type="parTrans" cxnId="{67F55F3A-3D8E-4068-B4C0-A288F8E9C59E}">
      <dgm:prSet/>
      <dgm:spPr/>
      <dgm:t>
        <a:bodyPr/>
        <a:lstStyle/>
        <a:p>
          <a:endParaRPr lang="en-US"/>
        </a:p>
      </dgm:t>
    </dgm:pt>
    <dgm:pt modelId="{B4EF829E-76C3-41CB-A273-46C1B1CAF0DB}" type="sibTrans" cxnId="{67F55F3A-3D8E-4068-B4C0-A288F8E9C59E}">
      <dgm:prSet/>
      <dgm:spPr/>
      <dgm:t>
        <a:bodyPr/>
        <a:lstStyle/>
        <a:p>
          <a:endParaRPr lang="en-US"/>
        </a:p>
      </dgm:t>
    </dgm:pt>
    <dgm:pt modelId="{AFCD5720-1D33-4385-8427-2F4178EDE651}" type="pres">
      <dgm:prSet presAssocID="{98B80387-E466-4018-82C3-6FA8E643CFCF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81C33E4-0B47-4FC3-9F0B-AAE10B95DFB2}" type="pres">
      <dgm:prSet presAssocID="{98B80387-E466-4018-82C3-6FA8E643CFCF}" presName="children" presStyleCnt="0"/>
      <dgm:spPr/>
    </dgm:pt>
    <dgm:pt modelId="{64BBBAF9-D8DB-4869-AF90-53A17A426CA1}" type="pres">
      <dgm:prSet presAssocID="{98B80387-E466-4018-82C3-6FA8E643CFCF}" presName="childPlaceholder" presStyleCnt="0"/>
      <dgm:spPr/>
    </dgm:pt>
    <dgm:pt modelId="{18BDCEAA-7304-40E1-A118-EEA0C78DDA5C}" type="pres">
      <dgm:prSet presAssocID="{98B80387-E466-4018-82C3-6FA8E643CFCF}" presName="circle" presStyleCnt="0"/>
      <dgm:spPr/>
    </dgm:pt>
    <dgm:pt modelId="{7CFEBBDF-C881-4C24-BAE6-7F7FCC5DCFFD}" type="pres">
      <dgm:prSet presAssocID="{98B80387-E466-4018-82C3-6FA8E643CFCF}" presName="quadrant1" presStyleLbl="node1" presStyleIdx="0" presStyleCnt="4">
        <dgm:presLayoutVars>
          <dgm:chMax val="1"/>
          <dgm:bulletEnabled val="1"/>
        </dgm:presLayoutVars>
      </dgm:prSet>
      <dgm:spPr>
        <a:prstGeom prst="pieWedge">
          <a:avLst/>
        </a:prstGeom>
      </dgm:spPr>
      <dgm:t>
        <a:bodyPr/>
        <a:lstStyle/>
        <a:p>
          <a:endParaRPr lang="en-US"/>
        </a:p>
      </dgm:t>
    </dgm:pt>
    <dgm:pt modelId="{3A223F4B-03CE-4B1A-9B62-D1C2E68CA0C0}" type="pres">
      <dgm:prSet presAssocID="{98B80387-E466-4018-82C3-6FA8E643CFCF}" presName="quadrant2" presStyleLbl="node1" presStyleIdx="1" presStyleCnt="4">
        <dgm:presLayoutVars>
          <dgm:chMax val="1"/>
          <dgm:bulletEnabled val="1"/>
        </dgm:presLayoutVars>
      </dgm:prSet>
      <dgm:spPr>
        <a:prstGeom prst="pieWedge">
          <a:avLst/>
        </a:prstGeom>
      </dgm:spPr>
      <dgm:t>
        <a:bodyPr/>
        <a:lstStyle/>
        <a:p>
          <a:endParaRPr lang="en-US"/>
        </a:p>
      </dgm:t>
    </dgm:pt>
    <dgm:pt modelId="{F76D210B-6DE4-4362-8B98-BD9B43285141}" type="pres">
      <dgm:prSet presAssocID="{98B80387-E466-4018-82C3-6FA8E643CFCF}" presName="quadrant3" presStyleLbl="node1" presStyleIdx="2" presStyleCnt="4">
        <dgm:presLayoutVars>
          <dgm:chMax val="1"/>
          <dgm:bulletEnabled val="1"/>
        </dgm:presLayoutVars>
      </dgm:prSet>
      <dgm:spPr>
        <a:prstGeom prst="pieWedge">
          <a:avLst/>
        </a:prstGeom>
      </dgm:spPr>
      <dgm:t>
        <a:bodyPr/>
        <a:lstStyle/>
        <a:p>
          <a:endParaRPr lang="en-US"/>
        </a:p>
      </dgm:t>
    </dgm:pt>
    <dgm:pt modelId="{2B8C8745-30A5-487E-B09A-A0DD7C49C12A}" type="pres">
      <dgm:prSet presAssocID="{98B80387-E466-4018-82C3-6FA8E643CFCF}" presName="quadrant4" presStyleLbl="node1" presStyleIdx="3" presStyleCnt="4">
        <dgm:presLayoutVars>
          <dgm:chMax val="1"/>
          <dgm:bulletEnabled val="1"/>
        </dgm:presLayoutVars>
      </dgm:prSet>
      <dgm:spPr>
        <a:prstGeom prst="pieWedge">
          <a:avLst/>
        </a:prstGeom>
      </dgm:spPr>
      <dgm:t>
        <a:bodyPr/>
        <a:lstStyle/>
        <a:p>
          <a:endParaRPr lang="en-US"/>
        </a:p>
      </dgm:t>
    </dgm:pt>
    <dgm:pt modelId="{F0F1696B-09FB-4D96-8A09-50B86B2723B1}" type="pres">
      <dgm:prSet presAssocID="{98B80387-E466-4018-82C3-6FA8E643CFCF}" presName="quadrantPlaceholder" presStyleCnt="0"/>
      <dgm:spPr/>
    </dgm:pt>
    <dgm:pt modelId="{FF46B554-BDF4-433F-9638-6F307693645E}" type="pres">
      <dgm:prSet presAssocID="{98B80387-E466-4018-82C3-6FA8E643CFCF}" presName="center1" presStyleLbl="fgShp" presStyleIdx="0" presStyleCnt="2"/>
      <dgm:spPr>
        <a:xfrm>
          <a:off x="2397352" y="1270024"/>
          <a:ext cx="463094" cy="402690"/>
        </a:xfrm>
        <a:prstGeom prst="circular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FE465345-BFE7-482F-A7DE-5D1B3BBAD784}" type="pres">
      <dgm:prSet presAssocID="{98B80387-E466-4018-82C3-6FA8E643CFCF}" presName="center2" presStyleLbl="fgShp" presStyleIdx="1" presStyleCnt="2"/>
      <dgm:spPr>
        <a:xfrm rot="10800000">
          <a:off x="2397352" y="1424905"/>
          <a:ext cx="463094" cy="402690"/>
        </a:xfrm>
        <a:prstGeom prst="circular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n-US"/>
        </a:p>
      </dgm:t>
    </dgm:pt>
  </dgm:ptLst>
  <dgm:cxnLst>
    <dgm:cxn modelId="{7EE860CB-EA5E-4CC4-8797-B74EA1EB1961}" type="presOf" srcId="{E7E7A169-63C2-486C-B5EE-41EAD36EB496}" destId="{F76D210B-6DE4-4362-8B98-BD9B43285141}" srcOrd="0" destOrd="0" presId="urn:microsoft.com/office/officeart/2005/8/layout/cycle4"/>
    <dgm:cxn modelId="{A91F6BAA-B431-49C9-BA43-44D19B890226}" type="presOf" srcId="{90249FAB-3B8B-4B24-8B52-186AFDC82A61}" destId="{2B8C8745-30A5-487E-B09A-A0DD7C49C12A}" srcOrd="0" destOrd="0" presId="urn:microsoft.com/office/officeart/2005/8/layout/cycle4"/>
    <dgm:cxn modelId="{33C1A84D-8820-4B13-8D31-32F2D487FC21}" type="presOf" srcId="{50B2D7FF-E2E4-47C6-B750-3E286B45622E}" destId="{7CFEBBDF-C881-4C24-BAE6-7F7FCC5DCFFD}" srcOrd="0" destOrd="0" presId="urn:microsoft.com/office/officeart/2005/8/layout/cycle4"/>
    <dgm:cxn modelId="{67F55F3A-3D8E-4068-B4C0-A288F8E9C59E}" srcId="{98B80387-E466-4018-82C3-6FA8E643CFCF}" destId="{90249FAB-3B8B-4B24-8B52-186AFDC82A61}" srcOrd="3" destOrd="0" parTransId="{A54A4C91-A85B-4CB8-B31B-06BE582315F8}" sibTransId="{B4EF829E-76C3-41CB-A273-46C1B1CAF0DB}"/>
    <dgm:cxn modelId="{8EC90FAD-F8EC-4852-A3BC-3D20CDF8AF2A}" srcId="{98B80387-E466-4018-82C3-6FA8E643CFCF}" destId="{E7E7A169-63C2-486C-B5EE-41EAD36EB496}" srcOrd="2" destOrd="0" parTransId="{F9617434-BD1F-4AAA-8583-8441EF8D5243}" sibTransId="{6F59AEFA-BEEC-49C2-ADFA-EECA3AEACBD4}"/>
    <dgm:cxn modelId="{2B0E28B8-B136-4BE5-B707-1005D6BD86F8}" type="presOf" srcId="{935C1DD0-D546-4CD6-9A8C-09DF2CFC67FC}" destId="{3A223F4B-03CE-4B1A-9B62-D1C2E68CA0C0}" srcOrd="0" destOrd="0" presId="urn:microsoft.com/office/officeart/2005/8/layout/cycle4"/>
    <dgm:cxn modelId="{C2829F07-2B8C-4B27-9010-6399A11CE589}" type="presOf" srcId="{98B80387-E466-4018-82C3-6FA8E643CFCF}" destId="{AFCD5720-1D33-4385-8427-2F4178EDE651}" srcOrd="0" destOrd="0" presId="urn:microsoft.com/office/officeart/2005/8/layout/cycle4"/>
    <dgm:cxn modelId="{49CC1F7C-117C-45E2-BAEE-0C2EF845931E}" srcId="{98B80387-E466-4018-82C3-6FA8E643CFCF}" destId="{935C1DD0-D546-4CD6-9A8C-09DF2CFC67FC}" srcOrd="1" destOrd="0" parTransId="{153D2271-0DDE-4FF8-B8CE-4598E160C0EF}" sibTransId="{07599AA8-F526-4876-BF2C-88F90BD2D100}"/>
    <dgm:cxn modelId="{CFCE72C3-3C91-4F28-A8E6-C0B61C9CA446}" srcId="{98B80387-E466-4018-82C3-6FA8E643CFCF}" destId="{50B2D7FF-E2E4-47C6-B750-3E286B45622E}" srcOrd="0" destOrd="0" parTransId="{6804F285-1238-4AF7-98D7-508AD8766C20}" sibTransId="{9D954CB0-709F-47D0-84D8-3F0FAD1363C7}"/>
    <dgm:cxn modelId="{150E3EE2-3DB7-49B6-B963-18FAB24FD3D9}" type="presParOf" srcId="{AFCD5720-1D33-4385-8427-2F4178EDE651}" destId="{E81C33E4-0B47-4FC3-9F0B-AAE10B95DFB2}" srcOrd="0" destOrd="0" presId="urn:microsoft.com/office/officeart/2005/8/layout/cycle4"/>
    <dgm:cxn modelId="{9D7918E4-8E75-42B5-85BE-66DD6629E12E}" type="presParOf" srcId="{E81C33E4-0B47-4FC3-9F0B-AAE10B95DFB2}" destId="{64BBBAF9-D8DB-4869-AF90-53A17A426CA1}" srcOrd="0" destOrd="0" presId="urn:microsoft.com/office/officeart/2005/8/layout/cycle4"/>
    <dgm:cxn modelId="{1238D5B5-9FFF-4B67-AB2D-15015F0F9DA0}" type="presParOf" srcId="{AFCD5720-1D33-4385-8427-2F4178EDE651}" destId="{18BDCEAA-7304-40E1-A118-EEA0C78DDA5C}" srcOrd="1" destOrd="0" presId="urn:microsoft.com/office/officeart/2005/8/layout/cycle4"/>
    <dgm:cxn modelId="{ABB43B54-202C-43F3-BC13-63365B60AFE1}" type="presParOf" srcId="{18BDCEAA-7304-40E1-A118-EEA0C78DDA5C}" destId="{7CFEBBDF-C881-4C24-BAE6-7F7FCC5DCFFD}" srcOrd="0" destOrd="0" presId="urn:microsoft.com/office/officeart/2005/8/layout/cycle4"/>
    <dgm:cxn modelId="{D4DABAA0-E032-4B5D-BFA5-AE9DC720BD7A}" type="presParOf" srcId="{18BDCEAA-7304-40E1-A118-EEA0C78DDA5C}" destId="{3A223F4B-03CE-4B1A-9B62-D1C2E68CA0C0}" srcOrd="1" destOrd="0" presId="urn:microsoft.com/office/officeart/2005/8/layout/cycle4"/>
    <dgm:cxn modelId="{90CC1D1B-7673-49F8-AF53-F0BEA5D203C2}" type="presParOf" srcId="{18BDCEAA-7304-40E1-A118-EEA0C78DDA5C}" destId="{F76D210B-6DE4-4362-8B98-BD9B43285141}" srcOrd="2" destOrd="0" presId="urn:microsoft.com/office/officeart/2005/8/layout/cycle4"/>
    <dgm:cxn modelId="{FCCE7617-9DB5-4F13-A04A-85E4AE7A234C}" type="presParOf" srcId="{18BDCEAA-7304-40E1-A118-EEA0C78DDA5C}" destId="{2B8C8745-30A5-487E-B09A-A0DD7C49C12A}" srcOrd="3" destOrd="0" presId="urn:microsoft.com/office/officeart/2005/8/layout/cycle4"/>
    <dgm:cxn modelId="{E8FB01F7-08E1-49FA-B83E-089224B96626}" type="presParOf" srcId="{18BDCEAA-7304-40E1-A118-EEA0C78DDA5C}" destId="{F0F1696B-09FB-4D96-8A09-50B86B2723B1}" srcOrd="4" destOrd="0" presId="urn:microsoft.com/office/officeart/2005/8/layout/cycle4"/>
    <dgm:cxn modelId="{C9B140AD-7ADD-4597-893B-D4E3BC83C40A}" type="presParOf" srcId="{AFCD5720-1D33-4385-8427-2F4178EDE651}" destId="{FF46B554-BDF4-433F-9638-6F307693645E}" srcOrd="2" destOrd="0" presId="urn:microsoft.com/office/officeart/2005/8/layout/cycle4"/>
    <dgm:cxn modelId="{84075E72-D30B-45A8-B49A-F9D45212EDF8}" type="presParOf" srcId="{AFCD5720-1D33-4385-8427-2F4178EDE651}" destId="{FE465345-BFE7-482F-A7DE-5D1B3BBAD784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0918E96-5611-4A6B-8B7D-4426B7257B12}" type="doc">
      <dgm:prSet loTypeId="urn:microsoft.com/office/officeart/2005/8/layout/matrix2" loCatId="matrix" qsTypeId="urn:microsoft.com/office/officeart/2005/8/quickstyle/3d1" qsCatId="3D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63A91365-2463-4D61-BA25-904ADEAC6DF4}">
      <dgm:prSet phldrT="[Text]"/>
      <dgm:spPr>
        <a:solidFill>
          <a:srgbClr val="663300"/>
        </a:solidFill>
      </dgm:spPr>
      <dgm:t>
        <a:bodyPr/>
        <a:lstStyle/>
        <a:p>
          <a:r>
            <a:rPr lang="ru-RU" dirty="0" smtClean="0"/>
            <a:t>ТВ Спонсорство</a:t>
          </a:r>
          <a:endParaRPr lang="en-US" dirty="0"/>
        </a:p>
      </dgm:t>
    </dgm:pt>
    <dgm:pt modelId="{F7322C37-3A13-4588-9177-167159BD585E}" type="parTrans" cxnId="{655E0DD3-1501-46E2-8851-5B52586F3753}">
      <dgm:prSet/>
      <dgm:spPr/>
      <dgm:t>
        <a:bodyPr/>
        <a:lstStyle/>
        <a:p>
          <a:endParaRPr lang="en-US"/>
        </a:p>
      </dgm:t>
    </dgm:pt>
    <dgm:pt modelId="{303467CE-00A0-4BCA-B5CB-072BB0D644F7}" type="sibTrans" cxnId="{655E0DD3-1501-46E2-8851-5B52586F3753}">
      <dgm:prSet/>
      <dgm:spPr/>
      <dgm:t>
        <a:bodyPr/>
        <a:lstStyle/>
        <a:p>
          <a:endParaRPr lang="en-US"/>
        </a:p>
      </dgm:t>
    </dgm:pt>
    <dgm:pt modelId="{786C4479-B948-4603-A05C-EB6C9D02798D}">
      <dgm:prSet phldrT="[Text]"/>
      <dgm:spPr>
        <a:solidFill>
          <a:srgbClr val="663300"/>
        </a:solidFill>
      </dgm:spPr>
      <dgm:t>
        <a:bodyPr/>
        <a:lstStyle/>
        <a:p>
          <a:r>
            <a:rPr lang="ru-RU" dirty="0" err="1" smtClean="0"/>
            <a:t>Диджитал</a:t>
          </a:r>
          <a:endParaRPr lang="en-US" dirty="0"/>
        </a:p>
      </dgm:t>
    </dgm:pt>
    <dgm:pt modelId="{A611291A-E6F1-47A8-AE97-86C4E4A537C2}" type="parTrans" cxnId="{C8F9FC6C-C7F8-4D75-ADD8-C5319D93062E}">
      <dgm:prSet/>
      <dgm:spPr/>
      <dgm:t>
        <a:bodyPr/>
        <a:lstStyle/>
        <a:p>
          <a:endParaRPr lang="en-US"/>
        </a:p>
      </dgm:t>
    </dgm:pt>
    <dgm:pt modelId="{8A7775FB-162F-47F0-BA8F-8D3890462D8C}" type="sibTrans" cxnId="{C8F9FC6C-C7F8-4D75-ADD8-C5319D93062E}">
      <dgm:prSet/>
      <dgm:spPr/>
      <dgm:t>
        <a:bodyPr/>
        <a:lstStyle/>
        <a:p>
          <a:endParaRPr lang="en-US"/>
        </a:p>
      </dgm:t>
    </dgm:pt>
    <dgm:pt modelId="{9E5CAF2A-1116-4B66-B1E3-DDEC35D5CCA4}">
      <dgm:prSet phldrT="[Text]"/>
      <dgm:spPr>
        <a:solidFill>
          <a:srgbClr val="663300"/>
        </a:solidFill>
      </dgm:spPr>
      <dgm:t>
        <a:bodyPr/>
        <a:lstStyle/>
        <a:p>
          <a:r>
            <a:rPr lang="en-US" dirty="0" smtClean="0"/>
            <a:t>POSM</a:t>
          </a:r>
          <a:endParaRPr lang="en-US" dirty="0"/>
        </a:p>
      </dgm:t>
    </dgm:pt>
    <dgm:pt modelId="{4B36BD4A-C227-4E36-A57F-1C6A2685F4E8}" type="parTrans" cxnId="{BF86A586-EDF7-4624-BDB0-4D0276598824}">
      <dgm:prSet/>
      <dgm:spPr/>
      <dgm:t>
        <a:bodyPr/>
        <a:lstStyle/>
        <a:p>
          <a:endParaRPr lang="en-US"/>
        </a:p>
      </dgm:t>
    </dgm:pt>
    <dgm:pt modelId="{6DF365BE-1E41-47BD-9631-BC63F7E6BC24}" type="sibTrans" cxnId="{BF86A586-EDF7-4624-BDB0-4D0276598824}">
      <dgm:prSet/>
      <dgm:spPr/>
      <dgm:t>
        <a:bodyPr/>
        <a:lstStyle/>
        <a:p>
          <a:endParaRPr lang="en-US"/>
        </a:p>
      </dgm:t>
    </dgm:pt>
    <dgm:pt modelId="{3D179410-D354-4D02-B99B-A75C682E6EF1}">
      <dgm:prSet phldrT="[Text]"/>
      <dgm:spPr>
        <a:solidFill>
          <a:srgbClr val="663300"/>
        </a:solidFill>
      </dgm:spPr>
      <dgm:t>
        <a:bodyPr/>
        <a:lstStyle/>
        <a:p>
          <a:r>
            <a:rPr lang="ru-RU" dirty="0" smtClean="0"/>
            <a:t>Промо</a:t>
          </a:r>
          <a:endParaRPr lang="en-US" dirty="0"/>
        </a:p>
      </dgm:t>
    </dgm:pt>
    <dgm:pt modelId="{094F3821-ED7C-484A-B80D-7A4AF639C0FD}" type="parTrans" cxnId="{BFE1B4CF-FC65-4347-9831-194736A5C667}">
      <dgm:prSet/>
      <dgm:spPr/>
      <dgm:t>
        <a:bodyPr/>
        <a:lstStyle/>
        <a:p>
          <a:endParaRPr lang="en-US"/>
        </a:p>
      </dgm:t>
    </dgm:pt>
    <dgm:pt modelId="{0F8C1378-E858-42C4-9B55-7C0718C648FD}" type="sibTrans" cxnId="{BFE1B4CF-FC65-4347-9831-194736A5C667}">
      <dgm:prSet/>
      <dgm:spPr/>
      <dgm:t>
        <a:bodyPr/>
        <a:lstStyle/>
        <a:p>
          <a:endParaRPr lang="en-US"/>
        </a:p>
      </dgm:t>
    </dgm:pt>
    <dgm:pt modelId="{A055EDF5-B4A3-4408-A815-CA4F912928B7}" type="pres">
      <dgm:prSet presAssocID="{30918E96-5611-4A6B-8B7D-4426B7257B12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C3B5486-4041-443F-9251-3C0543C02203}" type="pres">
      <dgm:prSet presAssocID="{30918E96-5611-4A6B-8B7D-4426B7257B12}" presName="axisShape" presStyleLbl="bgShp" presStyleIdx="0" presStyleCnt="1"/>
      <dgm:spPr/>
      <dgm:t>
        <a:bodyPr/>
        <a:lstStyle/>
        <a:p>
          <a:endParaRPr lang="en-US"/>
        </a:p>
      </dgm:t>
    </dgm:pt>
    <dgm:pt modelId="{1BE768FB-F23E-45CA-8643-8D442A84B915}" type="pres">
      <dgm:prSet presAssocID="{30918E96-5611-4A6B-8B7D-4426B7257B12}" presName="rect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82C14D-8559-4CB1-97EA-4901F91163A5}" type="pres">
      <dgm:prSet presAssocID="{30918E96-5611-4A6B-8B7D-4426B7257B12}" presName="rect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63BA58-EE6F-4EE3-8237-85F1EC73EEF7}" type="pres">
      <dgm:prSet presAssocID="{30918E96-5611-4A6B-8B7D-4426B7257B12}" presName="rect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0F5D2B-F0D0-4A19-A3FA-89BACF3970C6}" type="pres">
      <dgm:prSet presAssocID="{30918E96-5611-4A6B-8B7D-4426B7257B12}" presName="rect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9320052-208E-4C05-A330-94C6D94F46A2}" type="presOf" srcId="{3D179410-D354-4D02-B99B-A75C682E6EF1}" destId="{F00F5D2B-F0D0-4A19-A3FA-89BACF3970C6}" srcOrd="0" destOrd="0" presId="urn:microsoft.com/office/officeart/2005/8/layout/matrix2"/>
    <dgm:cxn modelId="{655E0DD3-1501-46E2-8851-5B52586F3753}" srcId="{30918E96-5611-4A6B-8B7D-4426B7257B12}" destId="{63A91365-2463-4D61-BA25-904ADEAC6DF4}" srcOrd="0" destOrd="0" parTransId="{F7322C37-3A13-4588-9177-167159BD585E}" sibTransId="{303467CE-00A0-4BCA-B5CB-072BB0D644F7}"/>
    <dgm:cxn modelId="{BF86A586-EDF7-4624-BDB0-4D0276598824}" srcId="{30918E96-5611-4A6B-8B7D-4426B7257B12}" destId="{9E5CAF2A-1116-4B66-B1E3-DDEC35D5CCA4}" srcOrd="2" destOrd="0" parTransId="{4B36BD4A-C227-4E36-A57F-1C6A2685F4E8}" sibTransId="{6DF365BE-1E41-47BD-9631-BC63F7E6BC24}"/>
    <dgm:cxn modelId="{0CCB6977-F0D9-4DD3-BF5A-15F72C0DE7D8}" type="presOf" srcId="{30918E96-5611-4A6B-8B7D-4426B7257B12}" destId="{A055EDF5-B4A3-4408-A815-CA4F912928B7}" srcOrd="0" destOrd="0" presId="urn:microsoft.com/office/officeart/2005/8/layout/matrix2"/>
    <dgm:cxn modelId="{C8F9FC6C-C7F8-4D75-ADD8-C5319D93062E}" srcId="{30918E96-5611-4A6B-8B7D-4426B7257B12}" destId="{786C4479-B948-4603-A05C-EB6C9D02798D}" srcOrd="1" destOrd="0" parTransId="{A611291A-E6F1-47A8-AE97-86C4E4A537C2}" sibTransId="{8A7775FB-162F-47F0-BA8F-8D3890462D8C}"/>
    <dgm:cxn modelId="{F5CCB6D1-B5A8-4C2E-B6AA-AE9519D503C2}" type="presOf" srcId="{63A91365-2463-4D61-BA25-904ADEAC6DF4}" destId="{1BE768FB-F23E-45CA-8643-8D442A84B915}" srcOrd="0" destOrd="0" presId="urn:microsoft.com/office/officeart/2005/8/layout/matrix2"/>
    <dgm:cxn modelId="{BFE1B4CF-FC65-4347-9831-194736A5C667}" srcId="{30918E96-5611-4A6B-8B7D-4426B7257B12}" destId="{3D179410-D354-4D02-B99B-A75C682E6EF1}" srcOrd="3" destOrd="0" parTransId="{094F3821-ED7C-484A-B80D-7A4AF639C0FD}" sibTransId="{0F8C1378-E858-42C4-9B55-7C0718C648FD}"/>
    <dgm:cxn modelId="{DF2A528E-B589-41C3-8DC2-77DBF8AC6568}" type="presOf" srcId="{9E5CAF2A-1116-4B66-B1E3-DDEC35D5CCA4}" destId="{C663BA58-EE6F-4EE3-8237-85F1EC73EEF7}" srcOrd="0" destOrd="0" presId="urn:microsoft.com/office/officeart/2005/8/layout/matrix2"/>
    <dgm:cxn modelId="{E33BD61D-54FA-4049-A60D-B677164560F9}" type="presOf" srcId="{786C4479-B948-4603-A05C-EB6C9D02798D}" destId="{0E82C14D-8559-4CB1-97EA-4901F91163A5}" srcOrd="0" destOrd="0" presId="urn:microsoft.com/office/officeart/2005/8/layout/matrix2"/>
    <dgm:cxn modelId="{E5D7D252-0BD5-4342-A374-C54AA7CA2566}" type="presParOf" srcId="{A055EDF5-B4A3-4408-A815-CA4F912928B7}" destId="{7C3B5486-4041-443F-9251-3C0543C02203}" srcOrd="0" destOrd="0" presId="urn:microsoft.com/office/officeart/2005/8/layout/matrix2"/>
    <dgm:cxn modelId="{8B343B06-D9DE-4CF6-9777-22D62FE948F6}" type="presParOf" srcId="{A055EDF5-B4A3-4408-A815-CA4F912928B7}" destId="{1BE768FB-F23E-45CA-8643-8D442A84B915}" srcOrd="1" destOrd="0" presId="urn:microsoft.com/office/officeart/2005/8/layout/matrix2"/>
    <dgm:cxn modelId="{852CC679-0BB4-453C-A10D-FCFDB2F6A946}" type="presParOf" srcId="{A055EDF5-B4A3-4408-A815-CA4F912928B7}" destId="{0E82C14D-8559-4CB1-97EA-4901F91163A5}" srcOrd="2" destOrd="0" presId="urn:microsoft.com/office/officeart/2005/8/layout/matrix2"/>
    <dgm:cxn modelId="{169F9FF5-09F8-443B-9638-A42993EEB6F7}" type="presParOf" srcId="{A055EDF5-B4A3-4408-A815-CA4F912928B7}" destId="{C663BA58-EE6F-4EE3-8237-85F1EC73EEF7}" srcOrd="3" destOrd="0" presId="urn:microsoft.com/office/officeart/2005/8/layout/matrix2"/>
    <dgm:cxn modelId="{B9EB1431-F790-473D-A82F-3E5F7FCB2C85}" type="presParOf" srcId="{A055EDF5-B4A3-4408-A815-CA4F912928B7}" destId="{F00F5D2B-F0D0-4A19-A3FA-89BACF3970C6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FEBBDF-C881-4C24-BAE6-7F7FCC5DCFFD}">
      <dsp:nvSpPr>
        <dsp:cNvPr id="0" name=""/>
        <dsp:cNvSpPr/>
      </dsp:nvSpPr>
      <dsp:spPr>
        <a:xfrm>
          <a:off x="1132389" y="150600"/>
          <a:ext cx="1144037" cy="1144037"/>
        </a:xfrm>
        <a:prstGeom prst="pieWedge">
          <a:avLst/>
        </a:prstGeom>
        <a:solidFill>
          <a:srgbClr val="EEECE1">
            <a:lumMod val="5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Лесная коллекция</a:t>
          </a:r>
          <a:endParaRPr lang="en-US" sz="11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1467470" y="485681"/>
        <a:ext cx="808956" cy="808956"/>
      </dsp:txXfrm>
    </dsp:sp>
    <dsp:sp modelId="{3A223F4B-03CE-4B1A-9B62-D1C2E68CA0C0}">
      <dsp:nvSpPr>
        <dsp:cNvPr id="0" name=""/>
        <dsp:cNvSpPr/>
      </dsp:nvSpPr>
      <dsp:spPr>
        <a:xfrm rot="5400000">
          <a:off x="2329269" y="150600"/>
          <a:ext cx="1144037" cy="1144037"/>
        </a:xfrm>
        <a:prstGeom prst="pieWedge">
          <a:avLst/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Ягодная коллекция</a:t>
          </a:r>
          <a:endParaRPr lang="en-US" sz="11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-5400000">
        <a:off x="2329269" y="485681"/>
        <a:ext cx="808956" cy="808956"/>
      </dsp:txXfrm>
    </dsp:sp>
    <dsp:sp modelId="{F76D210B-6DE4-4362-8B98-BD9B43285141}">
      <dsp:nvSpPr>
        <dsp:cNvPr id="0" name=""/>
        <dsp:cNvSpPr/>
      </dsp:nvSpPr>
      <dsp:spPr>
        <a:xfrm rot="10800000">
          <a:off x="2329269" y="1347480"/>
          <a:ext cx="1144037" cy="1144037"/>
        </a:xfrm>
        <a:prstGeom prst="pieWedge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Водная коллекция</a:t>
          </a:r>
          <a:endParaRPr lang="en-US" sz="11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10800000">
        <a:off x="2329269" y="1347480"/>
        <a:ext cx="808956" cy="808956"/>
      </dsp:txXfrm>
    </dsp:sp>
    <dsp:sp modelId="{2B8C8745-30A5-487E-B09A-A0DD7C49C12A}">
      <dsp:nvSpPr>
        <dsp:cNvPr id="0" name=""/>
        <dsp:cNvSpPr/>
      </dsp:nvSpPr>
      <dsp:spPr>
        <a:xfrm rot="16200000">
          <a:off x="1132389" y="1347480"/>
          <a:ext cx="1144037" cy="1144037"/>
        </a:xfrm>
        <a:prstGeom prst="pieWedge">
          <a:avLst/>
        </a:prstGeom>
        <a:solidFill>
          <a:srgbClr val="92D050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64008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Растительная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коллекция</a:t>
          </a:r>
          <a:endParaRPr lang="en-US" sz="9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5400000">
        <a:off x="1467470" y="1347480"/>
        <a:ext cx="808956" cy="808956"/>
      </dsp:txXfrm>
    </dsp:sp>
    <dsp:sp modelId="{FF46B554-BDF4-433F-9638-6F307693645E}">
      <dsp:nvSpPr>
        <dsp:cNvPr id="0" name=""/>
        <dsp:cNvSpPr/>
      </dsp:nvSpPr>
      <dsp:spPr>
        <a:xfrm>
          <a:off x="2105350" y="1083268"/>
          <a:ext cx="394996" cy="343475"/>
        </a:xfrm>
        <a:prstGeom prst="circular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465345-BFE7-482F-A7DE-5D1B3BBAD784}">
      <dsp:nvSpPr>
        <dsp:cNvPr id="0" name=""/>
        <dsp:cNvSpPr/>
      </dsp:nvSpPr>
      <dsp:spPr>
        <a:xfrm rot="10800000">
          <a:off x="2105350" y="1215374"/>
          <a:ext cx="394996" cy="343475"/>
        </a:xfrm>
        <a:prstGeom prst="circular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3B5486-4041-443F-9251-3C0543C02203}">
      <dsp:nvSpPr>
        <dsp:cNvPr id="0" name=""/>
        <dsp:cNvSpPr/>
      </dsp:nvSpPr>
      <dsp:spPr>
        <a:xfrm>
          <a:off x="1246685" y="0"/>
          <a:ext cx="4403299" cy="4403299"/>
        </a:xfrm>
        <a:prstGeom prst="quadArrow">
          <a:avLst>
            <a:gd name="adj1" fmla="val 2000"/>
            <a:gd name="adj2" fmla="val 4000"/>
            <a:gd name="adj3" fmla="val 5000"/>
          </a:avLst>
        </a:prstGeom>
        <a:gradFill rotWithShape="0">
          <a:gsLst>
            <a:gs pos="0">
              <a:schemeClr val="dk2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1BE768FB-F23E-45CA-8643-8D442A84B915}">
      <dsp:nvSpPr>
        <dsp:cNvPr id="0" name=""/>
        <dsp:cNvSpPr/>
      </dsp:nvSpPr>
      <dsp:spPr>
        <a:xfrm>
          <a:off x="1532899" y="286214"/>
          <a:ext cx="1761319" cy="1761319"/>
        </a:xfrm>
        <a:prstGeom prst="roundRect">
          <a:avLst/>
        </a:prstGeom>
        <a:solidFill>
          <a:srgbClr val="6633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ТВ Спонсорство</a:t>
          </a:r>
          <a:endParaRPr lang="en-US" sz="1800" kern="1200" dirty="0"/>
        </a:p>
      </dsp:txBody>
      <dsp:txXfrm>
        <a:off x="1618880" y="372195"/>
        <a:ext cx="1589357" cy="1589357"/>
      </dsp:txXfrm>
    </dsp:sp>
    <dsp:sp modelId="{0E82C14D-8559-4CB1-97EA-4901F91163A5}">
      <dsp:nvSpPr>
        <dsp:cNvPr id="0" name=""/>
        <dsp:cNvSpPr/>
      </dsp:nvSpPr>
      <dsp:spPr>
        <a:xfrm>
          <a:off x="3602449" y="286214"/>
          <a:ext cx="1761319" cy="1761319"/>
        </a:xfrm>
        <a:prstGeom prst="roundRect">
          <a:avLst/>
        </a:prstGeom>
        <a:solidFill>
          <a:srgbClr val="6633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err="1" smtClean="0"/>
            <a:t>Диджитал</a:t>
          </a:r>
          <a:endParaRPr lang="en-US" sz="1800" kern="1200" dirty="0"/>
        </a:p>
      </dsp:txBody>
      <dsp:txXfrm>
        <a:off x="3688430" y="372195"/>
        <a:ext cx="1589357" cy="1589357"/>
      </dsp:txXfrm>
    </dsp:sp>
    <dsp:sp modelId="{C663BA58-EE6F-4EE3-8237-85F1EC73EEF7}">
      <dsp:nvSpPr>
        <dsp:cNvPr id="0" name=""/>
        <dsp:cNvSpPr/>
      </dsp:nvSpPr>
      <dsp:spPr>
        <a:xfrm>
          <a:off x="1532899" y="2355764"/>
          <a:ext cx="1761319" cy="1761319"/>
        </a:xfrm>
        <a:prstGeom prst="roundRect">
          <a:avLst/>
        </a:prstGeom>
        <a:solidFill>
          <a:srgbClr val="6633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OSM</a:t>
          </a:r>
          <a:endParaRPr lang="en-US" sz="1800" kern="1200" dirty="0"/>
        </a:p>
      </dsp:txBody>
      <dsp:txXfrm>
        <a:off x="1618880" y="2441745"/>
        <a:ext cx="1589357" cy="1589357"/>
      </dsp:txXfrm>
    </dsp:sp>
    <dsp:sp modelId="{F00F5D2B-F0D0-4A19-A3FA-89BACF3970C6}">
      <dsp:nvSpPr>
        <dsp:cNvPr id="0" name=""/>
        <dsp:cNvSpPr/>
      </dsp:nvSpPr>
      <dsp:spPr>
        <a:xfrm>
          <a:off x="3602449" y="2355764"/>
          <a:ext cx="1761319" cy="1761319"/>
        </a:xfrm>
        <a:prstGeom prst="roundRect">
          <a:avLst/>
        </a:prstGeom>
        <a:solidFill>
          <a:srgbClr val="6633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ромо</a:t>
          </a:r>
          <a:endParaRPr lang="en-US" sz="1800" kern="1200" dirty="0"/>
        </a:p>
      </dsp:txBody>
      <dsp:txXfrm>
        <a:off x="3688430" y="2441745"/>
        <a:ext cx="1589357" cy="15893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9225E-E130-415D-83EE-98412E61793C}" type="datetimeFigureOut">
              <a:rPr lang="en-GB" smtClean="0"/>
              <a:t>12/02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A1064-C6EB-4BA5-ADC3-F44E404ADB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2502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FC7052-F87B-420D-8606-D995B9287722}" type="datetimeFigureOut">
              <a:rPr lang="en-GB" smtClean="0"/>
              <a:t>12/02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2C7CC-2EF8-4CCD-BB0D-C657BB26E5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7554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89214B-0802-410E-A277-6288346B588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652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89214B-0802-410E-A277-6288346B588D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815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gif"/><Relationship Id="rId5" Type="http://schemas.openxmlformats.org/officeDocument/2006/relationships/image" Target="../media/image11.gif"/><Relationship Id="rId4" Type="http://schemas.openxmlformats.org/officeDocument/2006/relationships/image" Target="../media/image10.gi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5.bin"/><Relationship Id="rId9" Type="http://schemas.openxmlformats.org/officeDocument/2006/relationships/image" Target="../media/image11.gi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1.gi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gi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gi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gi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1.gi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1.gi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1.gi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1.gi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gif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gif"/><Relationship Id="rId5" Type="http://schemas.openxmlformats.org/officeDocument/2006/relationships/image" Target="../media/image1.emf"/><Relationship Id="rId10" Type="http://schemas.openxmlformats.org/officeDocument/2006/relationships/image" Target="../media/image12.gi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1.gi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gif"/><Relationship Id="rId5" Type="http://schemas.openxmlformats.org/officeDocument/2006/relationships/image" Target="../media/image11.gif"/><Relationship Id="rId4" Type="http://schemas.openxmlformats.org/officeDocument/2006/relationships/image" Target="../media/image10.gi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/>
          <p:nvPr/>
        </p:nvSpPr>
        <p:spPr bwMode="gray">
          <a:xfrm>
            <a:off x="0" y="-1"/>
            <a:ext cx="9144000" cy="28204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60000" y="441663"/>
            <a:ext cx="7128000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4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0001" y="1588923"/>
            <a:ext cx="4500000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subtitle style</a:t>
            </a:r>
            <a:endParaRPr lang="en-GB" dirty="0"/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 bwMode="gray">
          <a:xfrm>
            <a:off x="0" y="1689100"/>
            <a:ext cx="9144000" cy="699756"/>
            <a:chOff x="2087597" y="1250423"/>
            <a:chExt cx="7056403" cy="541219"/>
          </a:xfrm>
        </p:grpSpPr>
        <p:grpSp>
          <p:nvGrpSpPr>
            <p:cNvPr id="23" name="Group 22"/>
            <p:cNvGrpSpPr/>
            <p:nvPr/>
          </p:nvGrpSpPr>
          <p:grpSpPr bwMode="gray">
            <a:xfrm>
              <a:off x="6065072" y="1250423"/>
              <a:ext cx="2851590" cy="534134"/>
              <a:chOff x="6082760" y="2229099"/>
              <a:chExt cx="2851590" cy="534134"/>
            </a:xfrm>
          </p:grpSpPr>
          <p:sp>
            <p:nvSpPr>
              <p:cNvPr id="25" name="AutoShape 21"/>
              <p:cNvSpPr>
                <a:spLocks noChangeAspect="1" noChangeArrowheads="1" noTextEdit="1"/>
              </p:cNvSpPr>
              <p:nvPr/>
            </p:nvSpPr>
            <p:spPr bwMode="gray">
              <a:xfrm>
                <a:off x="6082760" y="2230248"/>
                <a:ext cx="2848718" cy="5329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6" name="Freeform 23"/>
              <p:cNvSpPr>
                <a:spLocks noEditPoints="1"/>
              </p:cNvSpPr>
              <p:nvPr/>
            </p:nvSpPr>
            <p:spPr bwMode="gray">
              <a:xfrm>
                <a:off x="7684590" y="2229099"/>
                <a:ext cx="1249760" cy="532985"/>
              </a:xfrm>
              <a:custGeom>
                <a:avLst/>
                <a:gdLst/>
                <a:ahLst/>
                <a:cxnLst>
                  <a:cxn ang="0">
                    <a:pos x="898" y="12"/>
                  </a:cxn>
                  <a:cxn ang="0">
                    <a:pos x="882" y="34"/>
                  </a:cxn>
                  <a:cxn ang="0">
                    <a:pos x="865" y="65"/>
                  </a:cxn>
                  <a:cxn ang="0">
                    <a:pos x="872" y="23"/>
                  </a:cxn>
                  <a:cxn ang="0">
                    <a:pos x="869" y="1"/>
                  </a:cxn>
                  <a:cxn ang="0">
                    <a:pos x="857" y="38"/>
                  </a:cxn>
                  <a:cxn ang="0">
                    <a:pos x="848" y="76"/>
                  </a:cxn>
                  <a:cxn ang="0">
                    <a:pos x="845" y="17"/>
                  </a:cxn>
                  <a:cxn ang="0">
                    <a:pos x="833" y="31"/>
                  </a:cxn>
                  <a:cxn ang="0">
                    <a:pos x="834" y="63"/>
                  </a:cxn>
                  <a:cxn ang="0">
                    <a:pos x="832" y="59"/>
                  </a:cxn>
                  <a:cxn ang="0">
                    <a:pos x="818" y="33"/>
                  </a:cxn>
                  <a:cxn ang="0">
                    <a:pos x="819" y="69"/>
                  </a:cxn>
                  <a:cxn ang="0">
                    <a:pos x="798" y="105"/>
                  </a:cxn>
                  <a:cxn ang="0">
                    <a:pos x="750" y="107"/>
                  </a:cxn>
                  <a:cxn ang="0">
                    <a:pos x="633" y="184"/>
                  </a:cxn>
                  <a:cxn ang="0">
                    <a:pos x="496" y="256"/>
                  </a:cxn>
                  <a:cxn ang="0">
                    <a:pos x="536" y="219"/>
                  </a:cxn>
                  <a:cxn ang="0">
                    <a:pos x="322" y="389"/>
                  </a:cxn>
                  <a:cxn ang="0">
                    <a:pos x="423" y="393"/>
                  </a:cxn>
                  <a:cxn ang="0">
                    <a:pos x="418" y="346"/>
                  </a:cxn>
                  <a:cxn ang="0">
                    <a:pos x="645" y="268"/>
                  </a:cxn>
                  <a:cxn ang="0">
                    <a:pos x="766" y="146"/>
                  </a:cxn>
                  <a:cxn ang="0">
                    <a:pos x="830" y="108"/>
                  </a:cxn>
                  <a:cxn ang="0">
                    <a:pos x="853" y="91"/>
                  </a:cxn>
                  <a:cxn ang="0">
                    <a:pos x="884" y="56"/>
                  </a:cxn>
                  <a:cxn ang="0">
                    <a:pos x="915" y="9"/>
                  </a:cxn>
                  <a:cxn ang="0">
                    <a:pos x="417" y="125"/>
                  </a:cxn>
                  <a:cxn ang="0">
                    <a:pos x="425" y="117"/>
                  </a:cxn>
                  <a:cxn ang="0">
                    <a:pos x="401" y="109"/>
                  </a:cxn>
                  <a:cxn ang="0">
                    <a:pos x="417" y="125"/>
                  </a:cxn>
                  <a:cxn ang="0">
                    <a:pos x="356" y="110"/>
                  </a:cxn>
                  <a:cxn ang="0">
                    <a:pos x="355" y="147"/>
                  </a:cxn>
                  <a:cxn ang="0">
                    <a:pos x="351" y="135"/>
                  </a:cxn>
                  <a:cxn ang="0">
                    <a:pos x="335" y="119"/>
                  </a:cxn>
                  <a:cxn ang="0">
                    <a:pos x="435" y="213"/>
                  </a:cxn>
                  <a:cxn ang="0">
                    <a:pos x="361" y="234"/>
                  </a:cxn>
                  <a:cxn ang="0">
                    <a:pos x="369" y="209"/>
                  </a:cxn>
                  <a:cxn ang="0">
                    <a:pos x="372" y="183"/>
                  </a:cxn>
                  <a:cxn ang="0">
                    <a:pos x="392" y="172"/>
                  </a:cxn>
                  <a:cxn ang="0">
                    <a:pos x="377" y="163"/>
                  </a:cxn>
                  <a:cxn ang="0">
                    <a:pos x="400" y="164"/>
                  </a:cxn>
                  <a:cxn ang="0">
                    <a:pos x="388" y="153"/>
                  </a:cxn>
                  <a:cxn ang="0">
                    <a:pos x="396" y="139"/>
                  </a:cxn>
                  <a:cxn ang="0">
                    <a:pos x="369" y="88"/>
                  </a:cxn>
                  <a:cxn ang="0">
                    <a:pos x="319" y="39"/>
                  </a:cxn>
                  <a:cxn ang="0">
                    <a:pos x="275" y="91"/>
                  </a:cxn>
                  <a:cxn ang="0">
                    <a:pos x="288" y="98"/>
                  </a:cxn>
                  <a:cxn ang="0">
                    <a:pos x="293" y="147"/>
                  </a:cxn>
                  <a:cxn ang="0">
                    <a:pos x="292" y="276"/>
                  </a:cxn>
                  <a:cxn ang="0">
                    <a:pos x="278" y="272"/>
                  </a:cxn>
                  <a:cxn ang="0">
                    <a:pos x="248" y="289"/>
                  </a:cxn>
                  <a:cxn ang="0">
                    <a:pos x="186" y="332"/>
                  </a:cxn>
                  <a:cxn ang="0">
                    <a:pos x="119" y="365"/>
                  </a:cxn>
                  <a:cxn ang="0">
                    <a:pos x="267" y="393"/>
                  </a:cxn>
                  <a:cxn ang="0">
                    <a:pos x="756" y="99"/>
                  </a:cxn>
                  <a:cxn ang="0">
                    <a:pos x="805" y="78"/>
                  </a:cxn>
                  <a:cxn ang="0">
                    <a:pos x="791" y="68"/>
                  </a:cxn>
                  <a:cxn ang="0">
                    <a:pos x="807" y="34"/>
                  </a:cxn>
                  <a:cxn ang="0">
                    <a:pos x="783" y="45"/>
                  </a:cxn>
                  <a:cxn ang="0">
                    <a:pos x="754" y="98"/>
                  </a:cxn>
                </a:cxnLst>
                <a:rect l="0" t="0" r="r" b="b"/>
                <a:pathLst>
                  <a:path w="921" h="393">
                    <a:moveTo>
                      <a:pt x="910" y="2"/>
                    </a:moveTo>
                    <a:cubicBezTo>
                      <a:pt x="906" y="3"/>
                      <a:pt x="902" y="6"/>
                      <a:pt x="898" y="12"/>
                    </a:cubicBezTo>
                    <a:cubicBezTo>
                      <a:pt x="896" y="14"/>
                      <a:pt x="892" y="21"/>
                      <a:pt x="890" y="26"/>
                    </a:cubicBezTo>
                    <a:cubicBezTo>
                      <a:pt x="886" y="29"/>
                      <a:pt x="885" y="31"/>
                      <a:pt x="882" y="34"/>
                    </a:cubicBezTo>
                    <a:cubicBezTo>
                      <a:pt x="879" y="37"/>
                      <a:pt x="875" y="42"/>
                      <a:pt x="874" y="43"/>
                    </a:cubicBezTo>
                    <a:cubicBezTo>
                      <a:pt x="872" y="50"/>
                      <a:pt x="865" y="65"/>
                      <a:pt x="865" y="65"/>
                    </a:cubicBezTo>
                    <a:cubicBezTo>
                      <a:pt x="866" y="58"/>
                      <a:pt x="872" y="41"/>
                      <a:pt x="873" y="37"/>
                    </a:cubicBezTo>
                    <a:cubicBezTo>
                      <a:pt x="874" y="33"/>
                      <a:pt x="872" y="27"/>
                      <a:pt x="872" y="23"/>
                    </a:cubicBezTo>
                    <a:cubicBezTo>
                      <a:pt x="871" y="19"/>
                      <a:pt x="871" y="15"/>
                      <a:pt x="871" y="12"/>
                    </a:cubicBezTo>
                    <a:cubicBezTo>
                      <a:pt x="871" y="10"/>
                      <a:pt x="873" y="0"/>
                      <a:pt x="869" y="1"/>
                    </a:cubicBezTo>
                    <a:cubicBezTo>
                      <a:pt x="866" y="1"/>
                      <a:pt x="860" y="3"/>
                      <a:pt x="858" y="12"/>
                    </a:cubicBezTo>
                    <a:cubicBezTo>
                      <a:pt x="857" y="18"/>
                      <a:pt x="858" y="27"/>
                      <a:pt x="857" y="38"/>
                    </a:cubicBezTo>
                    <a:cubicBezTo>
                      <a:pt x="857" y="40"/>
                      <a:pt x="855" y="43"/>
                      <a:pt x="854" y="50"/>
                    </a:cubicBezTo>
                    <a:cubicBezTo>
                      <a:pt x="852" y="57"/>
                      <a:pt x="850" y="68"/>
                      <a:pt x="848" y="76"/>
                    </a:cubicBezTo>
                    <a:cubicBezTo>
                      <a:pt x="848" y="73"/>
                      <a:pt x="851" y="56"/>
                      <a:pt x="851" y="49"/>
                    </a:cubicBezTo>
                    <a:cubicBezTo>
                      <a:pt x="852" y="42"/>
                      <a:pt x="846" y="20"/>
                      <a:pt x="845" y="17"/>
                    </a:cubicBezTo>
                    <a:cubicBezTo>
                      <a:pt x="845" y="14"/>
                      <a:pt x="844" y="13"/>
                      <a:pt x="842" y="13"/>
                    </a:cubicBezTo>
                    <a:cubicBezTo>
                      <a:pt x="837" y="12"/>
                      <a:pt x="832" y="20"/>
                      <a:pt x="833" y="31"/>
                    </a:cubicBezTo>
                    <a:cubicBezTo>
                      <a:pt x="834" y="34"/>
                      <a:pt x="838" y="44"/>
                      <a:pt x="838" y="49"/>
                    </a:cubicBezTo>
                    <a:cubicBezTo>
                      <a:pt x="837" y="54"/>
                      <a:pt x="835" y="60"/>
                      <a:pt x="834" y="63"/>
                    </a:cubicBezTo>
                    <a:cubicBezTo>
                      <a:pt x="834" y="70"/>
                      <a:pt x="833" y="80"/>
                      <a:pt x="832" y="85"/>
                    </a:cubicBezTo>
                    <a:cubicBezTo>
                      <a:pt x="833" y="81"/>
                      <a:pt x="832" y="62"/>
                      <a:pt x="832" y="59"/>
                    </a:cubicBezTo>
                    <a:cubicBezTo>
                      <a:pt x="831" y="56"/>
                      <a:pt x="826" y="43"/>
                      <a:pt x="823" y="35"/>
                    </a:cubicBezTo>
                    <a:cubicBezTo>
                      <a:pt x="822" y="32"/>
                      <a:pt x="820" y="32"/>
                      <a:pt x="818" y="33"/>
                    </a:cubicBezTo>
                    <a:cubicBezTo>
                      <a:pt x="812" y="36"/>
                      <a:pt x="812" y="47"/>
                      <a:pt x="813" y="52"/>
                    </a:cubicBezTo>
                    <a:cubicBezTo>
                      <a:pt x="814" y="54"/>
                      <a:pt x="817" y="62"/>
                      <a:pt x="819" y="69"/>
                    </a:cubicBezTo>
                    <a:cubicBezTo>
                      <a:pt x="815" y="100"/>
                      <a:pt x="808" y="102"/>
                      <a:pt x="808" y="102"/>
                    </a:cubicBezTo>
                    <a:cubicBezTo>
                      <a:pt x="808" y="102"/>
                      <a:pt x="806" y="104"/>
                      <a:pt x="798" y="105"/>
                    </a:cubicBezTo>
                    <a:cubicBezTo>
                      <a:pt x="784" y="108"/>
                      <a:pt x="759" y="114"/>
                      <a:pt x="752" y="107"/>
                    </a:cubicBezTo>
                    <a:cubicBezTo>
                      <a:pt x="752" y="107"/>
                      <a:pt x="751" y="106"/>
                      <a:pt x="750" y="107"/>
                    </a:cubicBezTo>
                    <a:cubicBezTo>
                      <a:pt x="748" y="108"/>
                      <a:pt x="730" y="124"/>
                      <a:pt x="719" y="132"/>
                    </a:cubicBezTo>
                    <a:cubicBezTo>
                      <a:pt x="684" y="158"/>
                      <a:pt x="661" y="165"/>
                      <a:pt x="633" y="184"/>
                    </a:cubicBezTo>
                    <a:cubicBezTo>
                      <a:pt x="602" y="234"/>
                      <a:pt x="572" y="250"/>
                      <a:pt x="533" y="261"/>
                    </a:cubicBezTo>
                    <a:cubicBezTo>
                      <a:pt x="516" y="266"/>
                      <a:pt x="500" y="265"/>
                      <a:pt x="496" y="256"/>
                    </a:cubicBezTo>
                    <a:cubicBezTo>
                      <a:pt x="489" y="235"/>
                      <a:pt x="517" y="224"/>
                      <a:pt x="536" y="221"/>
                    </a:cubicBezTo>
                    <a:cubicBezTo>
                      <a:pt x="537" y="221"/>
                      <a:pt x="537" y="219"/>
                      <a:pt x="536" y="219"/>
                    </a:cubicBezTo>
                    <a:cubicBezTo>
                      <a:pt x="527" y="214"/>
                      <a:pt x="516" y="211"/>
                      <a:pt x="503" y="211"/>
                    </a:cubicBezTo>
                    <a:cubicBezTo>
                      <a:pt x="405" y="209"/>
                      <a:pt x="313" y="326"/>
                      <a:pt x="322" y="389"/>
                    </a:cubicBezTo>
                    <a:cubicBezTo>
                      <a:pt x="322" y="390"/>
                      <a:pt x="322" y="392"/>
                      <a:pt x="322" y="393"/>
                    </a:cubicBezTo>
                    <a:cubicBezTo>
                      <a:pt x="423" y="393"/>
                      <a:pt x="423" y="393"/>
                      <a:pt x="423" y="393"/>
                    </a:cubicBezTo>
                    <a:cubicBezTo>
                      <a:pt x="437" y="380"/>
                      <a:pt x="452" y="363"/>
                      <a:pt x="467" y="342"/>
                    </a:cubicBezTo>
                    <a:cubicBezTo>
                      <a:pt x="467" y="342"/>
                      <a:pt x="440" y="347"/>
                      <a:pt x="418" y="346"/>
                    </a:cubicBezTo>
                    <a:cubicBezTo>
                      <a:pt x="418" y="346"/>
                      <a:pt x="448" y="340"/>
                      <a:pt x="491" y="311"/>
                    </a:cubicBezTo>
                    <a:cubicBezTo>
                      <a:pt x="562" y="329"/>
                      <a:pt x="626" y="237"/>
                      <a:pt x="645" y="268"/>
                    </a:cubicBezTo>
                    <a:cubicBezTo>
                      <a:pt x="645" y="269"/>
                      <a:pt x="647" y="268"/>
                      <a:pt x="647" y="268"/>
                    </a:cubicBezTo>
                    <a:cubicBezTo>
                      <a:pt x="704" y="229"/>
                      <a:pt x="726" y="180"/>
                      <a:pt x="766" y="146"/>
                    </a:cubicBezTo>
                    <a:cubicBezTo>
                      <a:pt x="784" y="131"/>
                      <a:pt x="787" y="125"/>
                      <a:pt x="818" y="117"/>
                    </a:cubicBezTo>
                    <a:cubicBezTo>
                      <a:pt x="827" y="114"/>
                      <a:pt x="827" y="111"/>
                      <a:pt x="830" y="108"/>
                    </a:cubicBezTo>
                    <a:cubicBezTo>
                      <a:pt x="834" y="103"/>
                      <a:pt x="840" y="107"/>
                      <a:pt x="844" y="100"/>
                    </a:cubicBezTo>
                    <a:cubicBezTo>
                      <a:pt x="846" y="97"/>
                      <a:pt x="844" y="92"/>
                      <a:pt x="853" y="91"/>
                    </a:cubicBezTo>
                    <a:cubicBezTo>
                      <a:pt x="861" y="89"/>
                      <a:pt x="862" y="81"/>
                      <a:pt x="866" y="77"/>
                    </a:cubicBezTo>
                    <a:cubicBezTo>
                      <a:pt x="876" y="65"/>
                      <a:pt x="875" y="66"/>
                      <a:pt x="884" y="56"/>
                    </a:cubicBezTo>
                    <a:cubicBezTo>
                      <a:pt x="888" y="52"/>
                      <a:pt x="901" y="35"/>
                      <a:pt x="903" y="33"/>
                    </a:cubicBezTo>
                    <a:cubicBezTo>
                      <a:pt x="905" y="29"/>
                      <a:pt x="909" y="16"/>
                      <a:pt x="915" y="9"/>
                    </a:cubicBezTo>
                    <a:cubicBezTo>
                      <a:pt x="921" y="3"/>
                      <a:pt x="916" y="0"/>
                      <a:pt x="910" y="2"/>
                    </a:cubicBezTo>
                    <a:close/>
                    <a:moveTo>
                      <a:pt x="417" y="125"/>
                    </a:moveTo>
                    <a:cubicBezTo>
                      <a:pt x="418" y="125"/>
                      <a:pt x="419" y="125"/>
                      <a:pt x="420" y="124"/>
                    </a:cubicBezTo>
                    <a:cubicBezTo>
                      <a:pt x="422" y="122"/>
                      <a:pt x="425" y="119"/>
                      <a:pt x="425" y="117"/>
                    </a:cubicBezTo>
                    <a:cubicBezTo>
                      <a:pt x="425" y="113"/>
                      <a:pt x="419" y="107"/>
                      <a:pt x="409" y="107"/>
                    </a:cubicBezTo>
                    <a:cubicBezTo>
                      <a:pt x="405" y="106"/>
                      <a:pt x="404" y="107"/>
                      <a:pt x="401" y="109"/>
                    </a:cubicBezTo>
                    <a:cubicBezTo>
                      <a:pt x="398" y="113"/>
                      <a:pt x="401" y="121"/>
                      <a:pt x="402" y="123"/>
                    </a:cubicBezTo>
                    <a:cubicBezTo>
                      <a:pt x="410" y="123"/>
                      <a:pt x="415" y="125"/>
                      <a:pt x="417" y="125"/>
                    </a:cubicBezTo>
                    <a:close/>
                    <a:moveTo>
                      <a:pt x="343" y="106"/>
                    </a:moveTo>
                    <a:cubicBezTo>
                      <a:pt x="343" y="106"/>
                      <a:pt x="347" y="110"/>
                      <a:pt x="356" y="110"/>
                    </a:cubicBezTo>
                    <a:cubicBezTo>
                      <a:pt x="366" y="110"/>
                      <a:pt x="370" y="112"/>
                      <a:pt x="372" y="115"/>
                    </a:cubicBezTo>
                    <a:cubicBezTo>
                      <a:pt x="372" y="134"/>
                      <a:pt x="362" y="147"/>
                      <a:pt x="355" y="147"/>
                    </a:cubicBezTo>
                    <a:cubicBezTo>
                      <a:pt x="353" y="147"/>
                      <a:pt x="352" y="146"/>
                      <a:pt x="353" y="145"/>
                    </a:cubicBezTo>
                    <a:cubicBezTo>
                      <a:pt x="353" y="142"/>
                      <a:pt x="353" y="138"/>
                      <a:pt x="351" y="135"/>
                    </a:cubicBezTo>
                    <a:cubicBezTo>
                      <a:pt x="348" y="131"/>
                      <a:pt x="346" y="128"/>
                      <a:pt x="339" y="125"/>
                    </a:cubicBezTo>
                    <a:cubicBezTo>
                      <a:pt x="338" y="124"/>
                      <a:pt x="335" y="123"/>
                      <a:pt x="335" y="119"/>
                    </a:cubicBezTo>
                    <a:cubicBezTo>
                      <a:pt x="335" y="112"/>
                      <a:pt x="343" y="106"/>
                      <a:pt x="343" y="106"/>
                    </a:cubicBezTo>
                    <a:close/>
                    <a:moveTo>
                      <a:pt x="435" y="213"/>
                    </a:moveTo>
                    <a:cubicBezTo>
                      <a:pt x="437" y="212"/>
                      <a:pt x="437" y="211"/>
                      <a:pt x="435" y="211"/>
                    </a:cubicBezTo>
                    <a:cubicBezTo>
                      <a:pt x="410" y="214"/>
                      <a:pt x="385" y="223"/>
                      <a:pt x="361" y="234"/>
                    </a:cubicBezTo>
                    <a:cubicBezTo>
                      <a:pt x="360" y="232"/>
                      <a:pt x="360" y="231"/>
                      <a:pt x="360" y="227"/>
                    </a:cubicBezTo>
                    <a:cubicBezTo>
                      <a:pt x="360" y="220"/>
                      <a:pt x="361" y="209"/>
                      <a:pt x="369" y="209"/>
                    </a:cubicBezTo>
                    <a:cubicBezTo>
                      <a:pt x="387" y="209"/>
                      <a:pt x="397" y="199"/>
                      <a:pt x="397" y="199"/>
                    </a:cubicBezTo>
                    <a:cubicBezTo>
                      <a:pt x="397" y="199"/>
                      <a:pt x="370" y="195"/>
                      <a:pt x="372" y="183"/>
                    </a:cubicBezTo>
                    <a:cubicBezTo>
                      <a:pt x="373" y="180"/>
                      <a:pt x="375" y="178"/>
                      <a:pt x="378" y="179"/>
                    </a:cubicBezTo>
                    <a:cubicBezTo>
                      <a:pt x="388" y="181"/>
                      <a:pt x="392" y="172"/>
                      <a:pt x="392" y="172"/>
                    </a:cubicBezTo>
                    <a:cubicBezTo>
                      <a:pt x="392" y="172"/>
                      <a:pt x="382" y="170"/>
                      <a:pt x="378" y="167"/>
                    </a:cubicBezTo>
                    <a:cubicBezTo>
                      <a:pt x="377" y="166"/>
                      <a:pt x="376" y="165"/>
                      <a:pt x="377" y="163"/>
                    </a:cubicBezTo>
                    <a:cubicBezTo>
                      <a:pt x="379" y="162"/>
                      <a:pt x="381" y="160"/>
                      <a:pt x="384" y="161"/>
                    </a:cubicBezTo>
                    <a:cubicBezTo>
                      <a:pt x="392" y="163"/>
                      <a:pt x="397" y="164"/>
                      <a:pt x="400" y="164"/>
                    </a:cubicBezTo>
                    <a:cubicBezTo>
                      <a:pt x="402" y="164"/>
                      <a:pt x="403" y="162"/>
                      <a:pt x="401" y="162"/>
                    </a:cubicBezTo>
                    <a:cubicBezTo>
                      <a:pt x="398" y="160"/>
                      <a:pt x="394" y="156"/>
                      <a:pt x="388" y="153"/>
                    </a:cubicBezTo>
                    <a:cubicBezTo>
                      <a:pt x="397" y="148"/>
                      <a:pt x="403" y="140"/>
                      <a:pt x="403" y="140"/>
                    </a:cubicBezTo>
                    <a:cubicBezTo>
                      <a:pt x="403" y="140"/>
                      <a:pt x="400" y="141"/>
                      <a:pt x="396" y="139"/>
                    </a:cubicBezTo>
                    <a:cubicBezTo>
                      <a:pt x="390" y="136"/>
                      <a:pt x="390" y="109"/>
                      <a:pt x="386" y="103"/>
                    </a:cubicBezTo>
                    <a:cubicBezTo>
                      <a:pt x="382" y="96"/>
                      <a:pt x="374" y="90"/>
                      <a:pt x="369" y="88"/>
                    </a:cubicBezTo>
                    <a:cubicBezTo>
                      <a:pt x="362" y="85"/>
                      <a:pt x="356" y="84"/>
                      <a:pt x="353" y="81"/>
                    </a:cubicBezTo>
                    <a:cubicBezTo>
                      <a:pt x="347" y="75"/>
                      <a:pt x="357" y="39"/>
                      <a:pt x="319" y="39"/>
                    </a:cubicBezTo>
                    <a:cubicBezTo>
                      <a:pt x="295" y="39"/>
                      <a:pt x="279" y="58"/>
                      <a:pt x="275" y="77"/>
                    </a:cubicBezTo>
                    <a:cubicBezTo>
                      <a:pt x="274" y="84"/>
                      <a:pt x="275" y="91"/>
                      <a:pt x="275" y="91"/>
                    </a:cubicBezTo>
                    <a:cubicBezTo>
                      <a:pt x="275" y="91"/>
                      <a:pt x="295" y="87"/>
                      <a:pt x="302" y="107"/>
                    </a:cubicBezTo>
                    <a:cubicBezTo>
                      <a:pt x="296" y="101"/>
                      <a:pt x="290" y="98"/>
                      <a:pt x="288" y="98"/>
                    </a:cubicBezTo>
                    <a:cubicBezTo>
                      <a:pt x="281" y="97"/>
                      <a:pt x="276" y="101"/>
                      <a:pt x="275" y="108"/>
                    </a:cubicBezTo>
                    <a:cubicBezTo>
                      <a:pt x="271" y="128"/>
                      <a:pt x="291" y="145"/>
                      <a:pt x="293" y="147"/>
                    </a:cubicBezTo>
                    <a:cubicBezTo>
                      <a:pt x="289" y="187"/>
                      <a:pt x="307" y="212"/>
                      <a:pt x="308" y="244"/>
                    </a:cubicBezTo>
                    <a:cubicBezTo>
                      <a:pt x="309" y="265"/>
                      <a:pt x="295" y="274"/>
                      <a:pt x="292" y="276"/>
                    </a:cubicBezTo>
                    <a:cubicBezTo>
                      <a:pt x="275" y="293"/>
                      <a:pt x="271" y="300"/>
                      <a:pt x="266" y="314"/>
                    </a:cubicBezTo>
                    <a:cubicBezTo>
                      <a:pt x="266" y="303"/>
                      <a:pt x="269" y="289"/>
                      <a:pt x="278" y="272"/>
                    </a:cubicBezTo>
                    <a:cubicBezTo>
                      <a:pt x="279" y="271"/>
                      <a:pt x="279" y="270"/>
                      <a:pt x="277" y="271"/>
                    </a:cubicBezTo>
                    <a:cubicBezTo>
                      <a:pt x="269" y="275"/>
                      <a:pt x="254" y="284"/>
                      <a:pt x="248" y="289"/>
                    </a:cubicBezTo>
                    <a:cubicBezTo>
                      <a:pt x="242" y="296"/>
                      <a:pt x="235" y="302"/>
                      <a:pt x="229" y="309"/>
                    </a:cubicBezTo>
                    <a:cubicBezTo>
                      <a:pt x="220" y="312"/>
                      <a:pt x="205" y="318"/>
                      <a:pt x="186" y="332"/>
                    </a:cubicBezTo>
                    <a:cubicBezTo>
                      <a:pt x="170" y="343"/>
                      <a:pt x="160" y="364"/>
                      <a:pt x="160" y="364"/>
                    </a:cubicBezTo>
                    <a:cubicBezTo>
                      <a:pt x="160" y="364"/>
                      <a:pt x="143" y="363"/>
                      <a:pt x="119" y="365"/>
                    </a:cubicBezTo>
                    <a:cubicBezTo>
                      <a:pt x="67" y="369"/>
                      <a:pt x="0" y="393"/>
                      <a:pt x="0" y="393"/>
                    </a:cubicBezTo>
                    <a:cubicBezTo>
                      <a:pt x="267" y="393"/>
                      <a:pt x="267" y="393"/>
                      <a:pt x="267" y="393"/>
                    </a:cubicBezTo>
                    <a:cubicBezTo>
                      <a:pt x="272" y="323"/>
                      <a:pt x="364" y="236"/>
                      <a:pt x="435" y="213"/>
                    </a:cubicBezTo>
                    <a:close/>
                    <a:moveTo>
                      <a:pt x="756" y="99"/>
                    </a:moveTo>
                    <a:cubicBezTo>
                      <a:pt x="764" y="95"/>
                      <a:pt x="775" y="94"/>
                      <a:pt x="786" y="88"/>
                    </a:cubicBezTo>
                    <a:cubicBezTo>
                      <a:pt x="793" y="85"/>
                      <a:pt x="795" y="84"/>
                      <a:pt x="805" y="78"/>
                    </a:cubicBezTo>
                    <a:cubicBezTo>
                      <a:pt x="806" y="77"/>
                      <a:pt x="806" y="76"/>
                      <a:pt x="804" y="76"/>
                    </a:cubicBezTo>
                    <a:cubicBezTo>
                      <a:pt x="799" y="76"/>
                      <a:pt x="791" y="74"/>
                      <a:pt x="791" y="68"/>
                    </a:cubicBezTo>
                    <a:cubicBezTo>
                      <a:pt x="790" y="62"/>
                      <a:pt x="792" y="55"/>
                      <a:pt x="797" y="49"/>
                    </a:cubicBezTo>
                    <a:cubicBezTo>
                      <a:pt x="800" y="46"/>
                      <a:pt x="807" y="40"/>
                      <a:pt x="807" y="34"/>
                    </a:cubicBezTo>
                    <a:cubicBezTo>
                      <a:pt x="807" y="23"/>
                      <a:pt x="802" y="22"/>
                      <a:pt x="797" y="22"/>
                    </a:cubicBezTo>
                    <a:cubicBezTo>
                      <a:pt x="797" y="32"/>
                      <a:pt x="787" y="41"/>
                      <a:pt x="783" y="45"/>
                    </a:cubicBezTo>
                    <a:cubicBezTo>
                      <a:pt x="771" y="60"/>
                      <a:pt x="759" y="65"/>
                      <a:pt x="758" y="80"/>
                    </a:cubicBezTo>
                    <a:cubicBezTo>
                      <a:pt x="758" y="85"/>
                      <a:pt x="755" y="94"/>
                      <a:pt x="754" y="98"/>
                    </a:cubicBezTo>
                    <a:cubicBezTo>
                      <a:pt x="754" y="100"/>
                      <a:pt x="755" y="100"/>
                      <a:pt x="756" y="99"/>
                    </a:cubicBezTo>
                    <a:close/>
                  </a:path>
                </a:pathLst>
              </a:custGeom>
              <a:blipFill dpi="0" rotWithShape="1">
                <a:blip r:embed="rId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grpSp>
            <p:nvGrpSpPr>
              <p:cNvPr id="27" name="Group 33"/>
              <p:cNvGrpSpPr>
                <a:grpSpLocks noChangeAspect="1"/>
              </p:cNvGrpSpPr>
              <p:nvPr/>
            </p:nvGrpSpPr>
            <p:grpSpPr bwMode="gray">
              <a:xfrm>
                <a:off x="6102428" y="2323691"/>
                <a:ext cx="1779160" cy="259200"/>
                <a:chOff x="1430338" y="-1666875"/>
                <a:chExt cx="4968876" cy="723900"/>
              </a:xfrm>
              <a:solidFill>
                <a:srgbClr val="005192"/>
              </a:solidFill>
            </p:grpSpPr>
            <p:sp>
              <p:nvSpPr>
                <p:cNvPr id="28" name="Freeform 27"/>
                <p:cNvSpPr>
                  <a:spLocks/>
                </p:cNvSpPr>
                <p:nvPr/>
              </p:nvSpPr>
              <p:spPr bwMode="gray">
                <a:xfrm>
                  <a:off x="2705101" y="-1463675"/>
                  <a:ext cx="447675" cy="509588"/>
                </a:xfrm>
                <a:custGeom>
                  <a:avLst/>
                  <a:gdLst/>
                  <a:ahLst/>
                  <a:cxnLst>
                    <a:cxn ang="0">
                      <a:pos x="2" y="136"/>
                    </a:cxn>
                    <a:cxn ang="0">
                      <a:pos x="104" y="136"/>
                    </a:cxn>
                    <a:cxn ang="0">
                      <a:pos x="119" y="120"/>
                    </a:cxn>
                    <a:cxn ang="0">
                      <a:pos x="119" y="112"/>
                    </a:cxn>
                    <a:cxn ang="0">
                      <a:pos x="93" y="113"/>
                    </a:cxn>
                    <a:cxn ang="0">
                      <a:pos x="59" y="113"/>
                    </a:cxn>
                    <a:cxn ang="0">
                      <a:pos x="118" y="0"/>
                    </a:cxn>
                    <a:cxn ang="0">
                      <a:pos x="2" y="0"/>
                    </a:cxn>
                    <a:cxn ang="0">
                      <a:pos x="2" y="23"/>
                    </a:cxn>
                    <a:cxn ang="0">
                      <a:pos x="54" y="23"/>
                    </a:cxn>
                    <a:cxn ang="0">
                      <a:pos x="5" y="116"/>
                    </a:cxn>
                    <a:cxn ang="0">
                      <a:pos x="2" y="136"/>
                    </a:cxn>
                  </a:cxnLst>
                  <a:rect l="0" t="0" r="r" b="b"/>
                  <a:pathLst>
                    <a:path w="119" h="136">
                      <a:moveTo>
                        <a:pt x="2" y="136"/>
                      </a:moveTo>
                      <a:cubicBezTo>
                        <a:pt x="104" y="136"/>
                        <a:pt x="104" y="136"/>
                        <a:pt x="104" y="136"/>
                      </a:cubicBezTo>
                      <a:cubicBezTo>
                        <a:pt x="113" y="136"/>
                        <a:pt x="119" y="129"/>
                        <a:pt x="119" y="120"/>
                      </a:cubicBezTo>
                      <a:cubicBezTo>
                        <a:pt x="119" y="112"/>
                        <a:pt x="119" y="112"/>
                        <a:pt x="119" y="112"/>
                      </a:cubicBezTo>
                      <a:cubicBezTo>
                        <a:pt x="115" y="113"/>
                        <a:pt x="107" y="113"/>
                        <a:pt x="93" y="113"/>
                      </a:cubicBezTo>
                      <a:cubicBezTo>
                        <a:pt x="59" y="113"/>
                        <a:pt x="59" y="113"/>
                        <a:pt x="59" y="113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23"/>
                        <a:pt x="2" y="23"/>
                        <a:pt x="2" y="23"/>
                      </a:cubicBezTo>
                      <a:cubicBezTo>
                        <a:pt x="54" y="23"/>
                        <a:pt x="54" y="23"/>
                        <a:pt x="54" y="23"/>
                      </a:cubicBezTo>
                      <a:cubicBezTo>
                        <a:pt x="5" y="116"/>
                        <a:pt x="5" y="116"/>
                        <a:pt x="5" y="116"/>
                      </a:cubicBezTo>
                      <a:cubicBezTo>
                        <a:pt x="1" y="124"/>
                        <a:pt x="0" y="131"/>
                        <a:pt x="2" y="136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29" name="Freeform 25"/>
                <p:cNvSpPr>
                  <a:spLocks/>
                </p:cNvSpPr>
                <p:nvPr/>
              </p:nvSpPr>
              <p:spPr bwMode="gray">
                <a:xfrm>
                  <a:off x="2327276" y="-1463675"/>
                  <a:ext cx="344488" cy="509588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27" y="115"/>
                    </a:cxn>
                    <a:cxn ang="0">
                      <a:pos x="54" y="136"/>
                    </a:cxn>
                    <a:cxn ang="0">
                      <a:pos x="92" y="136"/>
                    </a:cxn>
                    <a:cxn ang="0">
                      <a:pos x="84" y="124"/>
                    </a:cxn>
                    <a:cxn ang="0">
                      <a:pos x="46" y="53"/>
                    </a:cxn>
                    <a:cxn ang="0">
                      <a:pos x="91" y="0"/>
                    </a:cxn>
                    <a:cxn ang="0">
                      <a:pos x="50" y="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92" h="136">
                      <a:moveTo>
                        <a:pt x="0" y="64"/>
                      </a:moveTo>
                      <a:cubicBezTo>
                        <a:pt x="27" y="115"/>
                        <a:pt x="27" y="115"/>
                        <a:pt x="27" y="115"/>
                      </a:cubicBezTo>
                      <a:cubicBezTo>
                        <a:pt x="34" y="130"/>
                        <a:pt x="38" y="136"/>
                        <a:pt x="54" y="136"/>
                      </a:cubicBezTo>
                      <a:cubicBezTo>
                        <a:pt x="92" y="136"/>
                        <a:pt x="92" y="136"/>
                        <a:pt x="92" y="136"/>
                      </a:cubicBezTo>
                      <a:cubicBezTo>
                        <a:pt x="90" y="134"/>
                        <a:pt x="88" y="131"/>
                        <a:pt x="84" y="124"/>
                      </a:cubicBezTo>
                      <a:cubicBezTo>
                        <a:pt x="46" y="53"/>
                        <a:pt x="46" y="53"/>
                        <a:pt x="46" y="53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0" y="64"/>
                        <a:pt x="0" y="64"/>
                        <a:pt x="0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0" name="Freeform 26"/>
                <p:cNvSpPr>
                  <a:spLocks/>
                </p:cNvSpPr>
                <p:nvPr/>
              </p:nvSpPr>
              <p:spPr bwMode="gray">
                <a:xfrm>
                  <a:off x="2143126" y="-1666875"/>
                  <a:ext cx="173038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6" y="190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6" h="190">
                      <a:moveTo>
                        <a:pt x="0" y="190"/>
                      </a:moveTo>
                      <a:cubicBezTo>
                        <a:pt x="46" y="190"/>
                        <a:pt x="46" y="190"/>
                        <a:pt x="46" y="190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1" name="Freeform 27"/>
                <p:cNvSpPr>
                  <a:spLocks noEditPoints="1"/>
                </p:cNvSpPr>
                <p:nvPr/>
              </p:nvSpPr>
              <p:spPr bwMode="gray">
                <a:xfrm>
                  <a:off x="1430338" y="-1614488"/>
                  <a:ext cx="652463" cy="660400"/>
                </a:xfrm>
                <a:custGeom>
                  <a:avLst/>
                  <a:gdLst/>
                  <a:ahLst/>
                  <a:cxnLst>
                    <a:cxn ang="0">
                      <a:pos x="52" y="111"/>
                    </a:cxn>
                    <a:cxn ang="0">
                      <a:pos x="77" y="37"/>
                    </a:cxn>
                    <a:cxn ang="0">
                      <a:pos x="100" y="111"/>
                    </a:cxn>
                    <a:cxn ang="0">
                      <a:pos x="52" y="111"/>
                    </a:cxn>
                    <a:cxn ang="0">
                      <a:pos x="169" y="164"/>
                    </a:cxn>
                    <a:cxn ang="0">
                      <a:pos x="122" y="24"/>
                    </a:cxn>
                    <a:cxn ang="0">
                      <a:pos x="87" y="0"/>
                    </a:cxn>
                    <a:cxn ang="0">
                      <a:pos x="65" y="0"/>
                    </a:cxn>
                    <a:cxn ang="0">
                      <a:pos x="0" y="176"/>
                    </a:cxn>
                    <a:cxn ang="0">
                      <a:pos x="29" y="176"/>
                    </a:cxn>
                    <a:cxn ang="0">
                      <a:pos x="44" y="133"/>
                    </a:cxn>
                    <a:cxn ang="0">
                      <a:pos x="107" y="133"/>
                    </a:cxn>
                    <a:cxn ang="0">
                      <a:pos x="116" y="161"/>
                    </a:cxn>
                    <a:cxn ang="0">
                      <a:pos x="135" y="176"/>
                    </a:cxn>
                    <a:cxn ang="0">
                      <a:pos x="174" y="176"/>
                    </a:cxn>
                    <a:cxn ang="0">
                      <a:pos x="169" y="164"/>
                    </a:cxn>
                  </a:cxnLst>
                  <a:rect l="0" t="0" r="r" b="b"/>
                  <a:pathLst>
                    <a:path w="174" h="176">
                      <a:moveTo>
                        <a:pt x="52" y="111"/>
                      </a:move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100" y="111"/>
                        <a:pt x="100" y="111"/>
                        <a:pt x="100" y="111"/>
                      </a:cubicBezTo>
                      <a:cubicBezTo>
                        <a:pt x="52" y="111"/>
                        <a:pt x="52" y="111"/>
                        <a:pt x="52" y="111"/>
                      </a:cubicBezTo>
                      <a:close/>
                      <a:moveTo>
                        <a:pt x="169" y="164"/>
                      </a:move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16" y="8"/>
                        <a:pt x="110" y="0"/>
                        <a:pt x="87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29" y="176"/>
                        <a:pt x="29" y="176"/>
                        <a:pt x="29" y="176"/>
                      </a:cubicBezTo>
                      <a:cubicBezTo>
                        <a:pt x="44" y="133"/>
                        <a:pt x="44" y="133"/>
                        <a:pt x="44" y="133"/>
                      </a:cubicBezTo>
                      <a:cubicBezTo>
                        <a:pt x="107" y="133"/>
                        <a:pt x="107" y="133"/>
                        <a:pt x="107" y="133"/>
                      </a:cubicBezTo>
                      <a:cubicBezTo>
                        <a:pt x="116" y="161"/>
                        <a:pt x="116" y="161"/>
                        <a:pt x="116" y="161"/>
                      </a:cubicBezTo>
                      <a:cubicBezTo>
                        <a:pt x="120" y="171"/>
                        <a:pt x="124" y="176"/>
                        <a:pt x="135" y="176"/>
                      </a:cubicBezTo>
                      <a:cubicBezTo>
                        <a:pt x="174" y="176"/>
                        <a:pt x="174" y="176"/>
                        <a:pt x="174" y="176"/>
                      </a:cubicBezTo>
                      <a:cubicBezTo>
                        <a:pt x="173" y="174"/>
                        <a:pt x="171" y="171"/>
                        <a:pt x="169" y="1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2" name="Freeform 28"/>
                <p:cNvSpPr>
                  <a:spLocks noEditPoints="1"/>
                </p:cNvSpPr>
                <p:nvPr/>
              </p:nvSpPr>
              <p:spPr bwMode="gray">
                <a:xfrm>
                  <a:off x="3181351" y="-1474788"/>
                  <a:ext cx="541338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1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2" y="142"/>
                    </a:cxn>
                    <a:cxn ang="0">
                      <a:pos x="144" y="68"/>
                    </a:cxn>
                    <a:cxn ang="0">
                      <a:pos x="73" y="0"/>
                    </a:cxn>
                    <a:cxn ang="0">
                      <a:pos x="0" y="75"/>
                    </a:cxn>
                    <a:cxn ang="0">
                      <a:pos x="72" y="142"/>
                    </a:cxn>
                  </a:cxnLst>
                  <a:rect l="0" t="0" r="r" b="b"/>
                  <a:pathLst>
                    <a:path w="144" h="142">
                      <a:moveTo>
                        <a:pt x="72" y="117"/>
                      </a:moveTo>
                      <a:cubicBezTo>
                        <a:pt x="56" y="117"/>
                        <a:pt x="51" y="99"/>
                        <a:pt x="51" y="70"/>
                      </a:cubicBezTo>
                      <a:cubicBezTo>
                        <a:pt x="51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2" y="142"/>
                      </a:moveTo>
                      <a:cubicBezTo>
                        <a:pt x="111" y="142"/>
                        <a:pt x="144" y="114"/>
                        <a:pt x="144" y="68"/>
                      </a:cubicBezTo>
                      <a:cubicBezTo>
                        <a:pt x="144" y="29"/>
                        <a:pt x="112" y="0"/>
                        <a:pt x="73" y="0"/>
                      </a:cubicBezTo>
                      <a:cubicBezTo>
                        <a:pt x="33" y="0"/>
                        <a:pt x="0" y="28"/>
                        <a:pt x="0" y="75"/>
                      </a:cubicBezTo>
                      <a:cubicBezTo>
                        <a:pt x="0" y="115"/>
                        <a:pt x="33" y="142"/>
                        <a:pt x="72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3" name="Freeform 29"/>
                <p:cNvSpPr>
                  <a:spLocks/>
                </p:cNvSpPr>
                <p:nvPr/>
              </p:nvSpPr>
              <p:spPr bwMode="gray">
                <a:xfrm>
                  <a:off x="3800476" y="-1617663"/>
                  <a:ext cx="577850" cy="663575"/>
                </a:xfrm>
                <a:custGeom>
                  <a:avLst/>
                  <a:gdLst/>
                  <a:ahLst/>
                  <a:cxnLst>
                    <a:cxn ang="0">
                      <a:pos x="0" y="177"/>
                    </a:cxn>
                    <a:cxn ang="0">
                      <a:pos x="30" y="177"/>
                    </a:cxn>
                    <a:cxn ang="0">
                      <a:pos x="30" y="65"/>
                    </a:cxn>
                    <a:cxn ang="0">
                      <a:pos x="104" y="154"/>
                    </a:cxn>
                    <a:cxn ang="0">
                      <a:pos x="133" y="177"/>
                    </a:cxn>
                    <a:cxn ang="0">
                      <a:pos x="154" y="177"/>
                    </a:cxn>
                    <a:cxn ang="0">
                      <a:pos x="154" y="16"/>
                    </a:cxn>
                    <a:cxn ang="0">
                      <a:pos x="138" y="0"/>
                    </a:cxn>
                    <a:cxn ang="0">
                      <a:pos x="125" y="0"/>
                    </a:cxn>
                    <a:cxn ang="0">
                      <a:pos x="125" y="107"/>
                    </a:cxn>
                    <a:cxn ang="0">
                      <a:pos x="54" y="21"/>
                    </a:cxn>
                    <a:cxn ang="0">
                      <a:pos x="22" y="0"/>
                    </a:cxn>
                    <a:cxn ang="0">
                      <a:pos x="0" y="0"/>
                    </a:cxn>
                    <a:cxn ang="0">
                      <a:pos x="0" y="177"/>
                    </a:cxn>
                  </a:cxnLst>
                  <a:rect l="0" t="0" r="r" b="b"/>
                  <a:pathLst>
                    <a:path w="154" h="177">
                      <a:moveTo>
                        <a:pt x="0" y="177"/>
                      </a:moveTo>
                      <a:cubicBezTo>
                        <a:pt x="30" y="177"/>
                        <a:pt x="30" y="177"/>
                        <a:pt x="30" y="177"/>
                      </a:cubicBezTo>
                      <a:cubicBezTo>
                        <a:pt x="30" y="65"/>
                        <a:pt x="30" y="65"/>
                        <a:pt x="30" y="65"/>
                      </a:cubicBezTo>
                      <a:cubicBezTo>
                        <a:pt x="104" y="154"/>
                        <a:pt x="104" y="154"/>
                        <a:pt x="104" y="154"/>
                      </a:cubicBezTo>
                      <a:cubicBezTo>
                        <a:pt x="115" y="167"/>
                        <a:pt x="122" y="177"/>
                        <a:pt x="133" y="177"/>
                      </a:cubicBezTo>
                      <a:cubicBezTo>
                        <a:pt x="154" y="177"/>
                        <a:pt x="154" y="177"/>
                        <a:pt x="154" y="177"/>
                      </a:cubicBezTo>
                      <a:cubicBezTo>
                        <a:pt x="154" y="16"/>
                        <a:pt x="154" y="16"/>
                        <a:pt x="154" y="16"/>
                      </a:cubicBezTo>
                      <a:cubicBezTo>
                        <a:pt x="154" y="6"/>
                        <a:pt x="148" y="0"/>
                        <a:pt x="138" y="0"/>
                      </a:cubicBezTo>
                      <a:cubicBezTo>
                        <a:pt x="125" y="0"/>
                        <a:pt x="125" y="0"/>
                        <a:pt x="125" y="0"/>
                      </a:cubicBezTo>
                      <a:cubicBezTo>
                        <a:pt x="125" y="107"/>
                        <a:pt x="125" y="107"/>
                        <a:pt x="125" y="107"/>
                      </a:cubicBezTo>
                      <a:cubicBezTo>
                        <a:pt x="54" y="21"/>
                        <a:pt x="54" y="21"/>
                        <a:pt x="54" y="21"/>
                      </a:cubicBezTo>
                      <a:cubicBezTo>
                        <a:pt x="43" y="8"/>
                        <a:pt x="37" y="0"/>
                        <a:pt x="2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7"/>
                        <a:pt x="0" y="177"/>
                        <a:pt x="0" y="1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4" name="Freeform 30"/>
                <p:cNvSpPr>
                  <a:spLocks noEditPoints="1"/>
                </p:cNvSpPr>
                <p:nvPr/>
              </p:nvSpPr>
              <p:spPr bwMode="gray">
                <a:xfrm>
                  <a:off x="4456113" y="-1474788"/>
                  <a:ext cx="536575" cy="531813"/>
                </a:xfrm>
                <a:custGeom>
                  <a:avLst/>
                  <a:gdLst/>
                  <a:ahLst/>
                  <a:cxnLst>
                    <a:cxn ang="0">
                      <a:pos x="72" y="117"/>
                    </a:cxn>
                    <a:cxn ang="0">
                      <a:pos x="50" y="70"/>
                    </a:cxn>
                    <a:cxn ang="0">
                      <a:pos x="72" y="24"/>
                    </a:cxn>
                    <a:cxn ang="0">
                      <a:pos x="93" y="73"/>
                    </a:cxn>
                    <a:cxn ang="0">
                      <a:pos x="72" y="117"/>
                    </a:cxn>
                    <a:cxn ang="0">
                      <a:pos x="71" y="142"/>
                    </a:cxn>
                    <a:cxn ang="0">
                      <a:pos x="143" y="68"/>
                    </a:cxn>
                    <a:cxn ang="0">
                      <a:pos x="72" y="0"/>
                    </a:cxn>
                    <a:cxn ang="0">
                      <a:pos x="0" y="75"/>
                    </a:cxn>
                    <a:cxn ang="0">
                      <a:pos x="71" y="142"/>
                    </a:cxn>
                  </a:cxnLst>
                  <a:rect l="0" t="0" r="r" b="b"/>
                  <a:pathLst>
                    <a:path w="143" h="142">
                      <a:moveTo>
                        <a:pt x="72" y="117"/>
                      </a:moveTo>
                      <a:cubicBezTo>
                        <a:pt x="56" y="117"/>
                        <a:pt x="50" y="99"/>
                        <a:pt x="50" y="70"/>
                      </a:cubicBezTo>
                      <a:cubicBezTo>
                        <a:pt x="50" y="43"/>
                        <a:pt x="56" y="24"/>
                        <a:pt x="72" y="24"/>
                      </a:cubicBezTo>
                      <a:cubicBezTo>
                        <a:pt x="88" y="24"/>
                        <a:pt x="93" y="44"/>
                        <a:pt x="93" y="73"/>
                      </a:cubicBezTo>
                      <a:cubicBezTo>
                        <a:pt x="93" y="100"/>
                        <a:pt x="88" y="117"/>
                        <a:pt x="72" y="117"/>
                      </a:cubicBezTo>
                      <a:moveTo>
                        <a:pt x="71" y="142"/>
                      </a:moveTo>
                      <a:cubicBezTo>
                        <a:pt x="110" y="142"/>
                        <a:pt x="143" y="114"/>
                        <a:pt x="143" y="68"/>
                      </a:cubicBezTo>
                      <a:cubicBezTo>
                        <a:pt x="143" y="29"/>
                        <a:pt x="112" y="0"/>
                        <a:pt x="72" y="0"/>
                      </a:cubicBezTo>
                      <a:cubicBezTo>
                        <a:pt x="32" y="0"/>
                        <a:pt x="0" y="28"/>
                        <a:pt x="0" y="75"/>
                      </a:cubicBezTo>
                      <a:cubicBezTo>
                        <a:pt x="0" y="115"/>
                        <a:pt x="32" y="142"/>
                        <a:pt x="71" y="142"/>
                      </a:cubicBez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5" name="Freeform 31"/>
                <p:cNvSpPr>
                  <a:spLocks noEditPoints="1"/>
                </p:cNvSpPr>
                <p:nvPr/>
              </p:nvSpPr>
              <p:spPr bwMode="gray">
                <a:xfrm>
                  <a:off x="5645151" y="-1474788"/>
                  <a:ext cx="506413" cy="531813"/>
                </a:xfrm>
                <a:custGeom>
                  <a:avLst/>
                  <a:gdLst/>
                  <a:ahLst/>
                  <a:cxnLst>
                    <a:cxn ang="0">
                      <a:pos x="47" y="55"/>
                    </a:cxn>
                    <a:cxn ang="0">
                      <a:pos x="69" y="22"/>
                    </a:cxn>
                    <a:cxn ang="0">
                      <a:pos x="91" y="55"/>
                    </a:cxn>
                    <a:cxn ang="0">
                      <a:pos x="47" y="55"/>
                    </a:cxn>
                    <a:cxn ang="0">
                      <a:pos x="134" y="74"/>
                    </a:cxn>
                    <a:cxn ang="0">
                      <a:pos x="135" y="58"/>
                    </a:cxn>
                    <a:cxn ang="0">
                      <a:pos x="70" y="0"/>
                    </a:cxn>
                    <a:cxn ang="0">
                      <a:pos x="0" y="71"/>
                    </a:cxn>
                    <a:cxn ang="0">
                      <a:pos x="68" y="142"/>
                    </a:cxn>
                    <a:cxn ang="0">
                      <a:pos x="127" y="99"/>
                    </a:cxn>
                    <a:cxn ang="0">
                      <a:pos x="88" y="109"/>
                    </a:cxn>
                    <a:cxn ang="0">
                      <a:pos x="47" y="74"/>
                    </a:cxn>
                    <a:cxn ang="0">
                      <a:pos x="134" y="74"/>
                    </a:cxn>
                  </a:cxnLst>
                  <a:rect l="0" t="0" r="r" b="b"/>
                  <a:pathLst>
                    <a:path w="135" h="142">
                      <a:moveTo>
                        <a:pt x="47" y="55"/>
                      </a:moveTo>
                      <a:cubicBezTo>
                        <a:pt x="48" y="35"/>
                        <a:pt x="56" y="22"/>
                        <a:pt x="69" y="22"/>
                      </a:cubicBezTo>
                      <a:cubicBezTo>
                        <a:pt x="88" y="22"/>
                        <a:pt x="91" y="55"/>
                        <a:pt x="91" y="55"/>
                      </a:cubicBezTo>
                      <a:cubicBezTo>
                        <a:pt x="47" y="55"/>
                        <a:pt x="47" y="55"/>
                        <a:pt x="47" y="55"/>
                      </a:cubicBezTo>
                      <a:close/>
                      <a:moveTo>
                        <a:pt x="134" y="74"/>
                      </a:moveTo>
                      <a:cubicBezTo>
                        <a:pt x="135" y="68"/>
                        <a:pt x="135" y="63"/>
                        <a:pt x="135" y="58"/>
                      </a:cubicBezTo>
                      <a:cubicBezTo>
                        <a:pt x="135" y="26"/>
                        <a:pt x="111" y="0"/>
                        <a:pt x="70" y="0"/>
                      </a:cubicBezTo>
                      <a:cubicBezTo>
                        <a:pt x="29" y="0"/>
                        <a:pt x="0" y="28"/>
                        <a:pt x="0" y="71"/>
                      </a:cubicBezTo>
                      <a:cubicBezTo>
                        <a:pt x="0" y="113"/>
                        <a:pt x="26" y="142"/>
                        <a:pt x="68" y="142"/>
                      </a:cubicBezTo>
                      <a:cubicBezTo>
                        <a:pt x="111" y="142"/>
                        <a:pt x="126" y="120"/>
                        <a:pt x="127" y="99"/>
                      </a:cubicBezTo>
                      <a:cubicBezTo>
                        <a:pt x="118" y="105"/>
                        <a:pt x="104" y="109"/>
                        <a:pt x="88" y="109"/>
                      </a:cubicBezTo>
                      <a:cubicBezTo>
                        <a:pt x="65" y="109"/>
                        <a:pt x="49" y="96"/>
                        <a:pt x="47" y="74"/>
                      </a:cubicBezTo>
                      <a:cubicBezTo>
                        <a:pt x="134" y="74"/>
                        <a:pt x="134" y="74"/>
                        <a:pt x="134" y="7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6" name="Freeform 32"/>
                <p:cNvSpPr>
                  <a:spLocks noEditPoints="1"/>
                </p:cNvSpPr>
                <p:nvPr/>
              </p:nvSpPr>
              <p:spPr bwMode="gray">
                <a:xfrm>
                  <a:off x="5072063" y="-1666875"/>
                  <a:ext cx="509588" cy="712788"/>
                </a:xfrm>
                <a:custGeom>
                  <a:avLst/>
                  <a:gdLst/>
                  <a:ahLst/>
                  <a:cxnLst>
                    <a:cxn ang="0">
                      <a:pos x="54" y="167"/>
                    </a:cxn>
                    <a:cxn ang="0">
                      <a:pos x="46" y="167"/>
                    </a:cxn>
                    <a:cxn ang="0">
                      <a:pos x="46" y="80"/>
                    </a:cxn>
                    <a:cxn ang="0">
                      <a:pos x="57" y="79"/>
                    </a:cxn>
                    <a:cxn ang="0">
                      <a:pos x="88" y="117"/>
                    </a:cxn>
                    <a:cxn ang="0">
                      <a:pos x="54" y="167"/>
                    </a:cxn>
                    <a:cxn ang="0">
                      <a:pos x="82" y="52"/>
                    </a:cxn>
                    <a:cxn ang="0">
                      <a:pos x="46" y="65"/>
                    </a:cxn>
                    <a:cxn ang="0">
                      <a:pos x="46" y="28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190"/>
                    </a:cxn>
                    <a:cxn ang="0">
                      <a:pos x="55" y="190"/>
                    </a:cxn>
                    <a:cxn ang="0">
                      <a:pos x="136" y="112"/>
                    </a:cxn>
                    <a:cxn ang="0">
                      <a:pos x="82" y="52"/>
                    </a:cxn>
                  </a:cxnLst>
                  <a:rect l="0" t="0" r="r" b="b"/>
                  <a:pathLst>
                    <a:path w="136" h="190">
                      <a:moveTo>
                        <a:pt x="54" y="167"/>
                      </a:moveTo>
                      <a:cubicBezTo>
                        <a:pt x="46" y="167"/>
                        <a:pt x="46" y="167"/>
                        <a:pt x="46" y="167"/>
                      </a:cubicBezTo>
                      <a:cubicBezTo>
                        <a:pt x="46" y="80"/>
                        <a:pt x="46" y="80"/>
                        <a:pt x="46" y="80"/>
                      </a:cubicBezTo>
                      <a:cubicBezTo>
                        <a:pt x="49" y="79"/>
                        <a:pt x="52" y="79"/>
                        <a:pt x="57" y="79"/>
                      </a:cubicBezTo>
                      <a:cubicBezTo>
                        <a:pt x="74" y="79"/>
                        <a:pt x="88" y="95"/>
                        <a:pt x="88" y="117"/>
                      </a:cubicBezTo>
                      <a:cubicBezTo>
                        <a:pt x="88" y="150"/>
                        <a:pt x="76" y="167"/>
                        <a:pt x="54" y="167"/>
                      </a:cubicBezTo>
                      <a:close/>
                      <a:moveTo>
                        <a:pt x="82" y="52"/>
                      </a:moveTo>
                      <a:cubicBezTo>
                        <a:pt x="66" y="52"/>
                        <a:pt x="53" y="58"/>
                        <a:pt x="46" y="65"/>
                      </a:cubicBezTo>
                      <a:cubicBezTo>
                        <a:pt x="46" y="28"/>
                        <a:pt x="46" y="28"/>
                        <a:pt x="46" y="28"/>
                      </a:cubicBezTo>
                      <a:cubicBezTo>
                        <a:pt x="46" y="11"/>
                        <a:pt x="34" y="0"/>
                        <a:pt x="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55" y="190"/>
                        <a:pt x="55" y="190"/>
                        <a:pt x="55" y="190"/>
                      </a:cubicBezTo>
                      <a:cubicBezTo>
                        <a:pt x="107" y="190"/>
                        <a:pt x="136" y="163"/>
                        <a:pt x="136" y="112"/>
                      </a:cubicBezTo>
                      <a:cubicBezTo>
                        <a:pt x="136" y="78"/>
                        <a:pt x="113" y="52"/>
                        <a:pt x="82" y="5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  <p:sp>
              <p:nvSpPr>
                <p:cNvPr id="37" name="Freeform 33"/>
                <p:cNvSpPr>
                  <a:spLocks/>
                </p:cNvSpPr>
                <p:nvPr/>
              </p:nvSpPr>
              <p:spPr bwMode="gray">
                <a:xfrm>
                  <a:off x="6223001" y="-1666875"/>
                  <a:ext cx="176213" cy="712788"/>
                </a:xfrm>
                <a:custGeom>
                  <a:avLst/>
                  <a:gdLst/>
                  <a:ahLst/>
                  <a:cxnLst>
                    <a:cxn ang="0">
                      <a:pos x="0" y="190"/>
                    </a:cxn>
                    <a:cxn ang="0">
                      <a:pos x="47" y="190"/>
                    </a:cxn>
                    <a:cxn ang="0">
                      <a:pos x="47" y="28"/>
                    </a:cxn>
                    <a:cxn ang="0">
                      <a:pos x="18" y="0"/>
                    </a:cxn>
                    <a:cxn ang="0">
                      <a:pos x="0" y="0"/>
                    </a:cxn>
                    <a:cxn ang="0">
                      <a:pos x="0" y="190"/>
                    </a:cxn>
                  </a:cxnLst>
                  <a:rect l="0" t="0" r="r" b="b"/>
                  <a:pathLst>
                    <a:path w="47" h="190">
                      <a:moveTo>
                        <a:pt x="0" y="190"/>
                      </a:moveTo>
                      <a:cubicBezTo>
                        <a:pt x="47" y="190"/>
                        <a:pt x="47" y="190"/>
                        <a:pt x="47" y="190"/>
                      </a:cubicBezTo>
                      <a:cubicBezTo>
                        <a:pt x="47" y="28"/>
                        <a:pt x="47" y="28"/>
                        <a:pt x="47" y="28"/>
                      </a:cubicBezTo>
                      <a:cubicBezTo>
                        <a:pt x="47" y="11"/>
                        <a:pt x="35" y="0"/>
                        <a:pt x="1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400"/>
                </a:p>
              </p:txBody>
            </p:sp>
          </p:grpSp>
        </p:grpSp>
        <p:sp>
          <p:nvSpPr>
            <p:cNvPr id="24" name="Rectangle 23"/>
            <p:cNvSpPr/>
            <p:nvPr/>
          </p:nvSpPr>
          <p:spPr bwMode="gray">
            <a:xfrm>
              <a:off x="2087597" y="1778925"/>
              <a:ext cx="7056403" cy="12717"/>
            </a:xfrm>
            <a:prstGeom prst="rect">
              <a:avLst/>
            </a:prstGeom>
            <a:solidFill>
              <a:srgbClr val="005095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pic>
        <p:nvPicPr>
          <p:cNvPr id="50180" name="Picture 4" descr="C:\Users\shustron\Desktop\Фин Заставка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820477"/>
            <a:ext cx="9144000" cy="4059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5072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gray">
          <a:xfrm>
            <a:off x="0" y="0"/>
            <a:ext cx="9144000" cy="6858000"/>
            <a:chOff x="0" y="0"/>
            <a:chExt cx="9144000" cy="5143500"/>
          </a:xfrm>
        </p:grpSpPr>
        <p:sp>
          <p:nvSpPr>
            <p:cNvPr id="20" name="Rectangle 19"/>
            <p:cNvSpPr/>
            <p:nvPr/>
          </p:nvSpPr>
          <p:spPr bwMode="gray">
            <a:xfrm>
              <a:off x="4500000" y="0"/>
              <a:ext cx="144001" cy="51435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0" y="2499750"/>
              <a:ext cx="9144000" cy="14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sp>
        <p:nvSpPr>
          <p:cNvPr id="5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4644000" y="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0" y="352680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4644000" y="3526800"/>
            <a:ext cx="4500000" cy="3331200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0" y="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4644000" y="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8"/>
          </p:nvPr>
        </p:nvSpPr>
        <p:spPr>
          <a:xfrm>
            <a:off x="0" y="352680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4644000" y="3526801"/>
            <a:ext cx="4500000" cy="1271136"/>
          </a:xfrm>
        </p:spPr>
        <p:txBody>
          <a:bodyPr lIns="180000" tIns="180000" rIns="180000" bIns="180000">
            <a:spAutoFit/>
          </a:bodyPr>
          <a:lstStyle>
            <a:lvl1pPr>
              <a:defRPr b="1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15" name="Group 1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16" name="Rectangle 1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0" name="Straight Arrow Connector 2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stCxn id="18" idx="0"/>
              <a:endCxn id="1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18" idx="3"/>
              <a:endCxn id="1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grpSp>
        <p:nvGrpSpPr>
          <p:cNvPr id="35" name="Group 34"/>
          <p:cNvGrpSpPr/>
          <p:nvPr userDrawn="1"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6" name="Rectangle 3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3" name="Rectangle 42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5" name="Straight Arrow Connector 4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18" idx="0"/>
              <a:endCxn id="1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>
              <a:stCxn id="18" idx="3"/>
              <a:endCxn id="1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05026005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2355"/>
            <a:ext cx="8424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6496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3" y="-27381"/>
            <a:ext cx="9144000" cy="6885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63"/>
          <p:cNvGrpSpPr/>
          <p:nvPr userDrawn="1"/>
        </p:nvGrpSpPr>
        <p:grpSpPr bwMode="gray">
          <a:xfrm>
            <a:off x="-2338348" y="0"/>
            <a:ext cx="2059036" cy="4063864"/>
            <a:chOff x="-3298560" y="0"/>
            <a:chExt cx="2059035" cy="4063864"/>
          </a:xfrm>
        </p:grpSpPr>
        <p:sp>
          <p:nvSpPr>
            <p:cNvPr id="114" name="TextBox 113"/>
            <p:cNvSpPr txBox="1"/>
            <p:nvPr userDrawn="1"/>
          </p:nvSpPr>
          <p:spPr bwMode="gray">
            <a:xfrm>
              <a:off x="-1960876" y="1195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15" name="Rectangle 114"/>
            <p:cNvSpPr/>
            <p:nvPr userDrawn="1"/>
          </p:nvSpPr>
          <p:spPr bwMode="gray">
            <a:xfrm>
              <a:off x="-2217425" y="0"/>
              <a:ext cx="177800" cy="17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6" name="Rectangle 115"/>
            <p:cNvSpPr/>
            <p:nvPr userDrawn="1"/>
          </p:nvSpPr>
          <p:spPr bwMode="gray">
            <a:xfrm>
              <a:off x="-2217425" y="228592"/>
              <a:ext cx="177800" cy="177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7" name="Rectangle 116"/>
            <p:cNvSpPr/>
            <p:nvPr userDrawn="1"/>
          </p:nvSpPr>
          <p:spPr bwMode="gray">
            <a:xfrm>
              <a:off x="-2217425" y="457184"/>
              <a:ext cx="177800" cy="1778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8" name="Rectangle 117"/>
            <p:cNvSpPr/>
            <p:nvPr userDrawn="1"/>
          </p:nvSpPr>
          <p:spPr bwMode="gray">
            <a:xfrm>
              <a:off x="-2217425" y="1142960"/>
              <a:ext cx="177800" cy="177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9" name="Rectangle 118"/>
            <p:cNvSpPr/>
            <p:nvPr userDrawn="1"/>
          </p:nvSpPr>
          <p:spPr bwMode="gray">
            <a:xfrm>
              <a:off x="-2217425" y="1371552"/>
              <a:ext cx="177800" cy="177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0" name="Rectangle 119"/>
            <p:cNvSpPr/>
            <p:nvPr userDrawn="1"/>
          </p:nvSpPr>
          <p:spPr bwMode="gray">
            <a:xfrm>
              <a:off x="-2217425" y="1600144"/>
              <a:ext cx="177800" cy="177800"/>
            </a:xfrm>
            <a:prstGeom prst="rect">
              <a:avLst/>
            </a:prstGeom>
            <a:solidFill>
              <a:srgbClr val="00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1" name="Rectangle 120"/>
            <p:cNvSpPr/>
            <p:nvPr userDrawn="1"/>
          </p:nvSpPr>
          <p:spPr bwMode="gray">
            <a:xfrm>
              <a:off x="-2217425" y="1828736"/>
              <a:ext cx="177800" cy="177800"/>
            </a:xfrm>
            <a:prstGeom prst="rect">
              <a:avLst/>
            </a:prstGeom>
            <a:solidFill>
              <a:srgbClr val="55BE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tangle 121"/>
            <p:cNvSpPr/>
            <p:nvPr userDrawn="1"/>
          </p:nvSpPr>
          <p:spPr bwMode="gray">
            <a:xfrm>
              <a:off x="-2217425" y="2057328"/>
              <a:ext cx="177800" cy="177800"/>
            </a:xfrm>
            <a:prstGeom prst="rect">
              <a:avLst/>
            </a:prstGeom>
            <a:solidFill>
              <a:srgbClr val="446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3" name="Rectangle 122"/>
            <p:cNvSpPr/>
            <p:nvPr userDrawn="1"/>
          </p:nvSpPr>
          <p:spPr bwMode="gray">
            <a:xfrm>
              <a:off x="-2217425" y="2285920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4" name="TextBox 123"/>
            <p:cNvSpPr txBox="1"/>
            <p:nvPr userDrawn="1"/>
          </p:nvSpPr>
          <p:spPr bwMode="gray">
            <a:xfrm>
              <a:off x="-1960876" y="229787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25" name="TextBox 124"/>
            <p:cNvSpPr txBox="1"/>
            <p:nvPr userDrawn="1"/>
          </p:nvSpPr>
          <p:spPr bwMode="gray">
            <a:xfrm>
              <a:off x="-1960876" y="206928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68-105-125</a:t>
              </a:r>
            </a:p>
          </p:txBody>
        </p:sp>
        <p:sp>
          <p:nvSpPr>
            <p:cNvPr id="126" name="TextBox 125"/>
            <p:cNvSpPr txBox="1"/>
            <p:nvPr userDrawn="1"/>
          </p:nvSpPr>
          <p:spPr bwMode="gray">
            <a:xfrm>
              <a:off x="-1960876" y="184069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85-190-207</a:t>
              </a:r>
            </a:p>
          </p:txBody>
        </p:sp>
        <p:sp>
          <p:nvSpPr>
            <p:cNvPr id="127" name="TextBox 126"/>
            <p:cNvSpPr txBox="1"/>
            <p:nvPr userDrawn="1"/>
          </p:nvSpPr>
          <p:spPr bwMode="gray">
            <a:xfrm>
              <a:off x="-1960876" y="161210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46-187</a:t>
              </a:r>
            </a:p>
          </p:txBody>
        </p:sp>
        <p:sp>
          <p:nvSpPr>
            <p:cNvPr id="128" name="TextBox 127"/>
            <p:cNvSpPr txBox="1"/>
            <p:nvPr userDrawn="1"/>
          </p:nvSpPr>
          <p:spPr bwMode="gray">
            <a:xfrm>
              <a:off x="-1960876" y="138350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29" name="TextBox 128"/>
            <p:cNvSpPr txBox="1"/>
            <p:nvPr userDrawn="1"/>
          </p:nvSpPr>
          <p:spPr bwMode="gray">
            <a:xfrm>
              <a:off x="-1960876" y="115491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30" name="TextBox 129"/>
            <p:cNvSpPr txBox="1"/>
            <p:nvPr userDrawn="1"/>
          </p:nvSpPr>
          <p:spPr bwMode="gray">
            <a:xfrm>
              <a:off x="-1960876" y="46914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31" name="TextBox 130"/>
            <p:cNvSpPr txBox="1"/>
            <p:nvPr userDrawn="1"/>
          </p:nvSpPr>
          <p:spPr bwMode="gray">
            <a:xfrm>
              <a:off x="-1960876" y="24054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00-000</a:t>
              </a:r>
            </a:p>
          </p:txBody>
        </p:sp>
        <p:sp>
          <p:nvSpPr>
            <p:cNvPr id="132" name="Rectangle 131"/>
            <p:cNvSpPr/>
            <p:nvPr userDrawn="1"/>
          </p:nvSpPr>
          <p:spPr bwMode="gray">
            <a:xfrm>
              <a:off x="-2217425" y="685776"/>
              <a:ext cx="177800" cy="177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3" name="TextBox 132"/>
            <p:cNvSpPr txBox="1"/>
            <p:nvPr userDrawn="1"/>
          </p:nvSpPr>
          <p:spPr bwMode="gray">
            <a:xfrm>
              <a:off x="-1960876" y="69773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34" name="Rectangle 133"/>
            <p:cNvSpPr/>
            <p:nvPr userDrawn="1"/>
          </p:nvSpPr>
          <p:spPr bwMode="gray">
            <a:xfrm>
              <a:off x="-2217425" y="2743104"/>
              <a:ext cx="177800" cy="1778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5" name="TextBox 134"/>
            <p:cNvSpPr txBox="1"/>
            <p:nvPr userDrawn="1"/>
          </p:nvSpPr>
          <p:spPr bwMode="gray">
            <a:xfrm>
              <a:off x="-1960876" y="275506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36" name="Rectangle 135"/>
            <p:cNvSpPr/>
            <p:nvPr userDrawn="1"/>
          </p:nvSpPr>
          <p:spPr bwMode="gray">
            <a:xfrm>
              <a:off x="-2217425" y="2971696"/>
              <a:ext cx="177800" cy="1778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7" name="TextBox 136"/>
            <p:cNvSpPr txBox="1"/>
            <p:nvPr userDrawn="1"/>
          </p:nvSpPr>
          <p:spPr bwMode="gray">
            <a:xfrm>
              <a:off x="-1960876" y="298365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38" name="Rectangle 137"/>
            <p:cNvSpPr/>
            <p:nvPr userDrawn="1"/>
          </p:nvSpPr>
          <p:spPr bwMode="gray">
            <a:xfrm>
              <a:off x="-2217425" y="3200288"/>
              <a:ext cx="177800" cy="177800"/>
            </a:xfrm>
            <a:prstGeom prst="rect">
              <a:avLst/>
            </a:prstGeom>
            <a:solidFill>
              <a:srgbClr val="868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9" name="TextBox 138"/>
            <p:cNvSpPr txBox="1"/>
            <p:nvPr userDrawn="1"/>
          </p:nvSpPr>
          <p:spPr bwMode="gray">
            <a:xfrm>
              <a:off x="-1960876" y="321224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40" name="Rectangle 139"/>
            <p:cNvSpPr/>
            <p:nvPr userDrawn="1"/>
          </p:nvSpPr>
          <p:spPr bwMode="gray">
            <a:xfrm>
              <a:off x="-2217425" y="3428880"/>
              <a:ext cx="177800" cy="177800"/>
            </a:xfrm>
            <a:prstGeom prst="rect">
              <a:avLst/>
            </a:prstGeom>
            <a:solidFill>
              <a:srgbClr val="B7B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1" name="TextBox 140"/>
            <p:cNvSpPr txBox="1"/>
            <p:nvPr userDrawn="1"/>
          </p:nvSpPr>
          <p:spPr bwMode="gray">
            <a:xfrm>
              <a:off x="-1960876" y="344083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42" name="Rectangle 141"/>
            <p:cNvSpPr/>
            <p:nvPr userDrawn="1"/>
          </p:nvSpPr>
          <p:spPr bwMode="gray">
            <a:xfrm>
              <a:off x="-2217425" y="3657472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TextBox 142"/>
            <p:cNvSpPr txBox="1"/>
            <p:nvPr userDrawn="1"/>
          </p:nvSpPr>
          <p:spPr bwMode="gray">
            <a:xfrm>
              <a:off x="-1960876" y="366942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44" name="Rectangle 143"/>
            <p:cNvSpPr/>
            <p:nvPr userDrawn="1"/>
          </p:nvSpPr>
          <p:spPr bwMode="gray">
            <a:xfrm>
              <a:off x="-2217425" y="3886064"/>
              <a:ext cx="177800" cy="177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5" name="TextBox 144"/>
            <p:cNvSpPr txBox="1"/>
            <p:nvPr userDrawn="1"/>
          </p:nvSpPr>
          <p:spPr bwMode="gray">
            <a:xfrm>
              <a:off x="-1960876" y="389802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46" name="TextBox 145"/>
            <p:cNvSpPr txBox="1"/>
            <p:nvPr userDrawn="1"/>
          </p:nvSpPr>
          <p:spPr bwMode="gray">
            <a:xfrm>
              <a:off x="-3298560" y="11956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1</a:t>
              </a:r>
            </a:p>
          </p:txBody>
        </p:sp>
        <p:sp>
          <p:nvSpPr>
            <p:cNvPr id="147" name="TextBox 146"/>
            <p:cNvSpPr txBox="1"/>
            <p:nvPr userDrawn="1"/>
          </p:nvSpPr>
          <p:spPr bwMode="gray">
            <a:xfrm>
              <a:off x="-3298560" y="229787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6</a:t>
              </a:r>
            </a:p>
          </p:txBody>
        </p:sp>
        <p:sp>
          <p:nvSpPr>
            <p:cNvPr id="148" name="TextBox 147"/>
            <p:cNvSpPr txBox="1"/>
            <p:nvPr userDrawn="1"/>
          </p:nvSpPr>
          <p:spPr bwMode="gray">
            <a:xfrm>
              <a:off x="-3298560" y="2069284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5</a:t>
              </a:r>
            </a:p>
          </p:txBody>
        </p:sp>
        <p:sp>
          <p:nvSpPr>
            <p:cNvPr id="149" name="TextBox 148"/>
            <p:cNvSpPr txBox="1"/>
            <p:nvPr userDrawn="1"/>
          </p:nvSpPr>
          <p:spPr bwMode="gray">
            <a:xfrm>
              <a:off x="-3298560" y="1840692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4</a:t>
              </a:r>
            </a:p>
          </p:txBody>
        </p:sp>
        <p:sp>
          <p:nvSpPr>
            <p:cNvPr id="150" name="TextBox 149"/>
            <p:cNvSpPr txBox="1"/>
            <p:nvPr userDrawn="1"/>
          </p:nvSpPr>
          <p:spPr bwMode="gray">
            <a:xfrm>
              <a:off x="-3298560" y="1612100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3</a:t>
              </a:r>
            </a:p>
          </p:txBody>
        </p:sp>
        <p:sp>
          <p:nvSpPr>
            <p:cNvPr id="151" name="TextBox 150"/>
            <p:cNvSpPr txBox="1"/>
            <p:nvPr userDrawn="1"/>
          </p:nvSpPr>
          <p:spPr bwMode="gray">
            <a:xfrm>
              <a:off x="-3298560" y="1383508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2</a:t>
              </a:r>
            </a:p>
          </p:txBody>
        </p:sp>
        <p:sp>
          <p:nvSpPr>
            <p:cNvPr id="152" name="TextBox 151"/>
            <p:cNvSpPr txBox="1"/>
            <p:nvPr userDrawn="1"/>
          </p:nvSpPr>
          <p:spPr bwMode="gray">
            <a:xfrm>
              <a:off x="-3298560" y="115491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1</a:t>
              </a:r>
            </a:p>
          </p:txBody>
        </p:sp>
        <p:sp>
          <p:nvSpPr>
            <p:cNvPr id="153" name="TextBox 152"/>
            <p:cNvSpPr txBox="1"/>
            <p:nvPr userDrawn="1"/>
          </p:nvSpPr>
          <p:spPr bwMode="gray">
            <a:xfrm>
              <a:off x="-3298560" y="469140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2</a:t>
              </a:r>
            </a:p>
          </p:txBody>
        </p:sp>
        <p:sp>
          <p:nvSpPr>
            <p:cNvPr id="154" name="TextBox 153"/>
            <p:cNvSpPr txBox="1"/>
            <p:nvPr userDrawn="1"/>
          </p:nvSpPr>
          <p:spPr bwMode="gray">
            <a:xfrm>
              <a:off x="-3298560" y="240548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1</a:t>
              </a:r>
            </a:p>
          </p:txBody>
        </p:sp>
        <p:sp>
          <p:nvSpPr>
            <p:cNvPr id="155" name="TextBox 154"/>
            <p:cNvSpPr txBox="1"/>
            <p:nvPr userDrawn="1"/>
          </p:nvSpPr>
          <p:spPr bwMode="gray">
            <a:xfrm>
              <a:off x="-3298560" y="697732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2</a:t>
              </a:r>
            </a:p>
          </p:txBody>
        </p:sp>
        <p:sp>
          <p:nvSpPr>
            <p:cNvPr id="156" name="TextBox 155"/>
            <p:cNvSpPr txBox="1"/>
            <p:nvPr userDrawn="1"/>
          </p:nvSpPr>
          <p:spPr bwMode="gray">
            <a:xfrm>
              <a:off x="-3298560" y="2755060"/>
              <a:ext cx="34144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Hyper</a:t>
              </a:r>
            </a:p>
          </p:txBody>
        </p:sp>
        <p:sp>
          <p:nvSpPr>
            <p:cNvPr id="157" name="TextBox 156"/>
            <p:cNvSpPr txBox="1"/>
            <p:nvPr userDrawn="1"/>
          </p:nvSpPr>
          <p:spPr bwMode="gray">
            <a:xfrm>
              <a:off x="-3298560" y="2983652"/>
              <a:ext cx="49051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F. Hyper</a:t>
              </a:r>
            </a:p>
          </p:txBody>
        </p:sp>
        <p:sp>
          <p:nvSpPr>
            <p:cNvPr id="158" name="TextBox 157"/>
            <p:cNvSpPr txBox="1"/>
            <p:nvPr userDrawn="1"/>
          </p:nvSpPr>
          <p:spPr bwMode="gray">
            <a:xfrm>
              <a:off x="-3298560" y="3212244"/>
              <a:ext cx="4472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D2</a:t>
              </a:r>
            </a:p>
          </p:txBody>
        </p:sp>
        <p:sp>
          <p:nvSpPr>
            <p:cNvPr id="159" name="TextBox 158"/>
            <p:cNvSpPr txBox="1"/>
            <p:nvPr userDrawn="1"/>
          </p:nvSpPr>
          <p:spPr bwMode="gray">
            <a:xfrm>
              <a:off x="-3298560" y="3440836"/>
              <a:ext cx="42479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L2</a:t>
              </a:r>
            </a:p>
          </p:txBody>
        </p:sp>
        <p:sp>
          <p:nvSpPr>
            <p:cNvPr id="160" name="TextBox 159"/>
            <p:cNvSpPr txBox="1"/>
            <p:nvPr userDrawn="1"/>
          </p:nvSpPr>
          <p:spPr bwMode="gray">
            <a:xfrm>
              <a:off x="-3298560" y="3669428"/>
              <a:ext cx="75020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</a:t>
              </a:r>
            </a:p>
          </p:txBody>
        </p:sp>
        <p:sp>
          <p:nvSpPr>
            <p:cNvPr id="161" name="TextBox 160"/>
            <p:cNvSpPr txBox="1"/>
            <p:nvPr userDrawn="1"/>
          </p:nvSpPr>
          <p:spPr bwMode="gray">
            <a:xfrm>
              <a:off x="-3298560" y="3898020"/>
              <a:ext cx="997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 2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7580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3" y="-27381"/>
            <a:ext cx="9144000" cy="6885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157125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Overview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Z:\2012\AkzoNobel\2012.053_PPT templates\DRAFT_OUTPUT\waves\waves_DarkBlueLightBlue-04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1447800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 userDrawn="1"/>
        </p:nvSpPr>
        <p:spPr bwMode="white">
          <a:xfrm>
            <a:off x="0" y="6406014"/>
            <a:ext cx="9144000" cy="4519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406014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Strategy Update 2013</a:t>
            </a:r>
            <a:endParaRPr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4140000" cy="4606396"/>
          </a:xfrm>
        </p:spPr>
        <p:txBody>
          <a:bodyPr/>
          <a:lstStyle>
            <a:lvl1pPr marL="450000" indent="-450000">
              <a:lnSpc>
                <a:spcPts val="2000"/>
              </a:lnSpc>
              <a:spcBef>
                <a:spcPts val="900"/>
              </a:spcBef>
              <a:buClrTx/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ts val="1800"/>
              </a:lnSpc>
              <a:spcBef>
                <a:spcPts val="0"/>
              </a:spcBef>
              <a:buClr>
                <a:schemeClr val="accent5"/>
              </a:buClr>
              <a:buFont typeface="+mj-lt"/>
              <a:buNone/>
              <a:defRPr sz="1600" b="0">
                <a:solidFill>
                  <a:schemeClr val="accent6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44000" y="1602317"/>
            <a:ext cx="4140000" cy="4606396"/>
          </a:xfrm>
        </p:spPr>
        <p:txBody>
          <a:bodyPr/>
          <a:lstStyle>
            <a:lvl1pPr marL="450000" indent="-450000">
              <a:lnSpc>
                <a:spcPts val="2000"/>
              </a:lnSpc>
              <a:spcBef>
                <a:spcPts val="900"/>
              </a:spcBef>
              <a:buClrTx/>
              <a:buFont typeface="+mj-lt"/>
              <a:buAutoNum type="arabicPeriod" startAt="7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+mj-lt"/>
              <a:buNone/>
              <a:defRPr sz="1600" b="0">
                <a:solidFill>
                  <a:schemeClr val="accent6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" name="Group 94"/>
          <p:cNvGrpSpPr/>
          <p:nvPr userDrawn="1"/>
        </p:nvGrpSpPr>
        <p:grpSpPr bwMode="white">
          <a:xfrm>
            <a:off x="7024688" y="372874"/>
            <a:ext cx="1770062" cy="260547"/>
            <a:chOff x="5619751" y="1679576"/>
            <a:chExt cx="2038350" cy="300038"/>
          </a:xfrm>
          <a:solidFill>
            <a:srgbClr val="FFFFFF"/>
          </a:solidFill>
        </p:grpSpPr>
        <p:sp>
          <p:nvSpPr>
            <p:cNvPr id="23" name="Freeform 7"/>
            <p:cNvSpPr>
              <a:spLocks/>
            </p:cNvSpPr>
            <p:nvPr userDrawn="1"/>
          </p:nvSpPr>
          <p:spPr bwMode="white">
            <a:xfrm>
              <a:off x="6142038" y="1765301"/>
              <a:ext cx="185738" cy="209550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5" y="136"/>
                </a:cxn>
                <a:cxn ang="0">
                  <a:pos x="120" y="120"/>
                </a:cxn>
                <a:cxn ang="0">
                  <a:pos x="120" y="111"/>
                </a:cxn>
                <a:cxn ang="0">
                  <a:pos x="93" y="113"/>
                </a:cxn>
                <a:cxn ang="0">
                  <a:pos x="60" y="113"/>
                </a:cxn>
                <a:cxn ang="0">
                  <a:pos x="118" y="0"/>
                </a:cxn>
                <a:cxn ang="0">
                  <a:pos x="3" y="0"/>
                </a:cxn>
                <a:cxn ang="0">
                  <a:pos x="3" y="22"/>
                </a:cxn>
                <a:cxn ang="0">
                  <a:pos x="55" y="22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20" h="136">
                  <a:moveTo>
                    <a:pt x="2" y="136"/>
                  </a:moveTo>
                  <a:cubicBezTo>
                    <a:pt x="105" y="136"/>
                    <a:pt x="105" y="136"/>
                    <a:pt x="105" y="136"/>
                  </a:cubicBezTo>
                  <a:cubicBezTo>
                    <a:pt x="114" y="136"/>
                    <a:pt x="120" y="129"/>
                    <a:pt x="120" y="120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5" y="112"/>
                    <a:pt x="107" y="113"/>
                    <a:pt x="93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white">
            <a:xfrm>
              <a:off x="5988051" y="1765301"/>
              <a:ext cx="142875" cy="20955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6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5" y="52"/>
                </a:cxn>
                <a:cxn ang="0">
                  <a:pos x="90" y="0"/>
                </a:cxn>
                <a:cxn ang="0">
                  <a:pos x="50" y="0"/>
                </a:cxn>
                <a:cxn ang="0">
                  <a:pos x="0" y="63"/>
                </a:cxn>
              </a:cxnLst>
              <a:rect l="0" t="0" r="r" b="b"/>
              <a:pathLst>
                <a:path w="92" h="136">
                  <a:moveTo>
                    <a:pt x="0" y="63"/>
                  </a:moveTo>
                  <a:cubicBezTo>
                    <a:pt x="26" y="115"/>
                    <a:pt x="26" y="115"/>
                    <a:pt x="26" y="115"/>
                  </a:cubicBezTo>
                  <a:cubicBezTo>
                    <a:pt x="34" y="129"/>
                    <a:pt x="37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89" y="134"/>
                    <a:pt x="87" y="131"/>
                    <a:pt x="84" y="124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white">
            <a:xfrm>
              <a:off x="5911851" y="1679576"/>
              <a:ext cx="71438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7" y="191"/>
                </a:cxn>
                <a:cxn ang="0">
                  <a:pos x="47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7" h="191">
                  <a:moveTo>
                    <a:pt x="0" y="191"/>
                  </a:moveTo>
                  <a:cubicBezTo>
                    <a:pt x="47" y="191"/>
                    <a:pt x="47" y="191"/>
                    <a:pt x="47" y="19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white">
            <a:xfrm>
              <a:off x="5619751" y="1703388"/>
              <a:ext cx="268288" cy="271463"/>
            </a:xfrm>
            <a:custGeom>
              <a:avLst/>
              <a:gdLst/>
              <a:ahLst/>
              <a:cxnLst>
                <a:cxn ang="0">
                  <a:pos x="169" y="163"/>
                </a:cxn>
                <a:cxn ang="0">
                  <a:pos x="122" y="24"/>
                </a:cxn>
                <a:cxn ang="0">
                  <a:pos x="88" y="0"/>
                </a:cxn>
                <a:cxn ang="0">
                  <a:pos x="66" y="0"/>
                </a:cxn>
                <a:cxn ang="0">
                  <a:pos x="0" y="176"/>
                </a:cxn>
                <a:cxn ang="0">
                  <a:pos x="30" y="176"/>
                </a:cxn>
                <a:cxn ang="0">
                  <a:pos x="45" y="132"/>
                </a:cxn>
                <a:cxn ang="0">
                  <a:pos x="108" y="132"/>
                </a:cxn>
                <a:cxn ang="0">
                  <a:pos x="117" y="160"/>
                </a:cxn>
                <a:cxn ang="0">
                  <a:pos x="135" y="175"/>
                </a:cxn>
                <a:cxn ang="0">
                  <a:pos x="175" y="175"/>
                </a:cxn>
                <a:cxn ang="0">
                  <a:pos x="169" y="163"/>
                </a:cxn>
                <a:cxn ang="0">
                  <a:pos x="52" y="111"/>
                </a:cxn>
                <a:cxn ang="0">
                  <a:pos x="77" y="37"/>
                </a:cxn>
                <a:cxn ang="0">
                  <a:pos x="101" y="111"/>
                </a:cxn>
                <a:cxn ang="0">
                  <a:pos x="52" y="111"/>
                </a:cxn>
              </a:cxnLst>
              <a:rect l="0" t="0" r="r" b="b"/>
              <a:pathLst>
                <a:path w="175" h="176">
                  <a:moveTo>
                    <a:pt x="169" y="163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7" y="7"/>
                    <a:pt x="111" y="0"/>
                    <a:pt x="8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0" y="171"/>
                    <a:pt x="124" y="175"/>
                    <a:pt x="135" y="175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3" y="174"/>
                    <a:pt x="172" y="170"/>
                    <a:pt x="169" y="163"/>
                  </a:cubicBezTo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1" y="111"/>
                    <a:pt x="101" y="111"/>
                    <a:pt x="101" y="111"/>
                  </a:cubicBezTo>
                  <a:lnTo>
                    <a:pt x="52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1"/>
            <p:cNvSpPr>
              <a:spLocks noEditPoints="1"/>
            </p:cNvSpPr>
            <p:nvPr userDrawn="1"/>
          </p:nvSpPr>
          <p:spPr bwMode="white">
            <a:xfrm>
              <a:off x="6337301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3" y="118"/>
                </a:cxn>
                <a:cxn ang="0">
                  <a:pos x="51" y="71"/>
                </a:cxn>
                <a:cxn ang="0">
                  <a:pos x="73" y="25"/>
                </a:cxn>
                <a:cxn ang="0">
                  <a:pos x="94" y="73"/>
                </a:cxn>
                <a:cxn ang="0">
                  <a:pos x="73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3" y="0"/>
                    <a:pt x="73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3" y="118"/>
                  </a:moveTo>
                  <a:cubicBezTo>
                    <a:pt x="57" y="118"/>
                    <a:pt x="51" y="100"/>
                    <a:pt x="51" y="71"/>
                  </a:cubicBezTo>
                  <a:cubicBezTo>
                    <a:pt x="51" y="43"/>
                    <a:pt x="57" y="25"/>
                    <a:pt x="73" y="25"/>
                  </a:cubicBezTo>
                  <a:cubicBezTo>
                    <a:pt x="89" y="25"/>
                    <a:pt x="94" y="44"/>
                    <a:pt x="94" y="73"/>
                  </a:cubicBezTo>
                  <a:cubicBezTo>
                    <a:pt x="94" y="100"/>
                    <a:pt x="89" y="118"/>
                    <a:pt x="73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white">
            <a:xfrm>
              <a:off x="6592888" y="1701801"/>
              <a:ext cx="238125" cy="273050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29" y="177"/>
                </a:cxn>
                <a:cxn ang="0">
                  <a:pos x="29" y="64"/>
                </a:cxn>
                <a:cxn ang="0">
                  <a:pos x="104" y="154"/>
                </a:cxn>
                <a:cxn ang="0">
                  <a:pos x="132" y="177"/>
                </a:cxn>
                <a:cxn ang="0">
                  <a:pos x="154" y="177"/>
                </a:cxn>
                <a:cxn ang="0">
                  <a:pos x="154" y="15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6"/>
                </a:cxn>
                <a:cxn ang="0">
                  <a:pos x="53" y="21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29" y="177"/>
                    <a:pt x="29" y="177"/>
                    <a:pt x="29" y="177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4" y="167"/>
                    <a:pt x="121" y="177"/>
                    <a:pt x="132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6"/>
                    <a:pt x="147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2" y="8"/>
                    <a:pt x="37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white">
            <a:xfrm>
              <a:off x="6861176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2" y="118"/>
                </a:cxn>
                <a:cxn ang="0">
                  <a:pos x="50" y="71"/>
                </a:cxn>
                <a:cxn ang="0">
                  <a:pos x="72" y="25"/>
                </a:cxn>
                <a:cxn ang="0">
                  <a:pos x="93" y="73"/>
                </a:cxn>
                <a:cxn ang="0">
                  <a:pos x="72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2" y="0"/>
                    <a:pt x="72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2" y="118"/>
                  </a:moveTo>
                  <a:cubicBezTo>
                    <a:pt x="56" y="118"/>
                    <a:pt x="50" y="100"/>
                    <a:pt x="50" y="71"/>
                  </a:cubicBezTo>
                  <a:cubicBezTo>
                    <a:pt x="50" y="43"/>
                    <a:pt x="56" y="25"/>
                    <a:pt x="72" y="25"/>
                  </a:cubicBezTo>
                  <a:cubicBezTo>
                    <a:pt x="88" y="25"/>
                    <a:pt x="93" y="45"/>
                    <a:pt x="93" y="73"/>
                  </a:cubicBezTo>
                  <a:cubicBezTo>
                    <a:pt x="93" y="100"/>
                    <a:pt x="88" y="118"/>
                    <a:pt x="72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white">
            <a:xfrm>
              <a:off x="7350126" y="1760538"/>
              <a:ext cx="206375" cy="219075"/>
            </a:xfrm>
            <a:custGeom>
              <a:avLst/>
              <a:gdLst/>
              <a:ahLst/>
              <a:cxnLst>
                <a:cxn ang="0">
                  <a:pos x="134" y="73"/>
                </a:cxn>
                <a:cxn ang="0">
                  <a:pos x="135" y="57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9" y="142"/>
                </a:cxn>
                <a:cxn ang="0">
                  <a:pos x="128" y="99"/>
                </a:cxn>
                <a:cxn ang="0">
                  <a:pos x="89" y="109"/>
                </a:cxn>
                <a:cxn ang="0">
                  <a:pos x="47" y="73"/>
                </a:cxn>
                <a:cxn ang="0">
                  <a:pos x="134" y="73"/>
                </a:cxn>
                <a:cxn ang="0">
                  <a:pos x="47" y="54"/>
                </a:cxn>
                <a:cxn ang="0">
                  <a:pos x="70" y="22"/>
                </a:cxn>
                <a:cxn ang="0">
                  <a:pos x="92" y="54"/>
                </a:cxn>
                <a:cxn ang="0">
                  <a:pos x="47" y="54"/>
                </a:cxn>
              </a:cxnLst>
              <a:rect l="0" t="0" r="r" b="b"/>
              <a:pathLst>
                <a:path w="135" h="142">
                  <a:moveTo>
                    <a:pt x="134" y="73"/>
                  </a:moveTo>
                  <a:cubicBezTo>
                    <a:pt x="135" y="68"/>
                    <a:pt x="135" y="62"/>
                    <a:pt x="135" y="57"/>
                  </a:cubicBezTo>
                  <a:cubicBezTo>
                    <a:pt x="135" y="25"/>
                    <a:pt x="111" y="0"/>
                    <a:pt x="70" y="0"/>
                  </a:cubicBezTo>
                  <a:cubicBezTo>
                    <a:pt x="30" y="0"/>
                    <a:pt x="0" y="28"/>
                    <a:pt x="0" y="71"/>
                  </a:cubicBezTo>
                  <a:cubicBezTo>
                    <a:pt x="0" y="113"/>
                    <a:pt x="26" y="142"/>
                    <a:pt x="69" y="142"/>
                  </a:cubicBezTo>
                  <a:cubicBezTo>
                    <a:pt x="111" y="142"/>
                    <a:pt x="127" y="120"/>
                    <a:pt x="128" y="99"/>
                  </a:cubicBezTo>
                  <a:cubicBezTo>
                    <a:pt x="118" y="105"/>
                    <a:pt x="104" y="109"/>
                    <a:pt x="89" y="109"/>
                  </a:cubicBezTo>
                  <a:cubicBezTo>
                    <a:pt x="65" y="109"/>
                    <a:pt x="50" y="95"/>
                    <a:pt x="47" y="73"/>
                  </a:cubicBezTo>
                  <a:lnTo>
                    <a:pt x="134" y="73"/>
                  </a:lnTo>
                  <a:close/>
                  <a:moveTo>
                    <a:pt x="47" y="54"/>
                  </a:moveTo>
                  <a:cubicBezTo>
                    <a:pt x="49" y="35"/>
                    <a:pt x="57" y="22"/>
                    <a:pt x="70" y="22"/>
                  </a:cubicBezTo>
                  <a:cubicBezTo>
                    <a:pt x="88" y="22"/>
                    <a:pt x="92" y="54"/>
                    <a:pt x="92" y="54"/>
                  </a:cubicBezTo>
                  <a:lnTo>
                    <a:pt x="47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15"/>
            <p:cNvSpPr>
              <a:spLocks noEditPoints="1"/>
            </p:cNvSpPr>
            <p:nvPr userDrawn="1"/>
          </p:nvSpPr>
          <p:spPr bwMode="white">
            <a:xfrm>
              <a:off x="7113588" y="1679576"/>
              <a:ext cx="211138" cy="295275"/>
            </a:xfrm>
            <a:custGeom>
              <a:avLst/>
              <a:gdLst/>
              <a:ahLst/>
              <a:cxnLst>
                <a:cxn ang="0">
                  <a:pos x="83" y="53"/>
                </a:cxn>
                <a:cxn ang="0">
                  <a:pos x="47" y="65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55" y="191"/>
                </a:cxn>
                <a:cxn ang="0">
                  <a:pos x="137" y="112"/>
                </a:cxn>
                <a:cxn ang="0">
                  <a:pos x="83" y="53"/>
                </a:cxn>
                <a:cxn ang="0">
                  <a:pos x="54" y="168"/>
                </a:cxn>
                <a:cxn ang="0">
                  <a:pos x="47" y="168"/>
                </a:cxn>
                <a:cxn ang="0">
                  <a:pos x="47" y="80"/>
                </a:cxn>
                <a:cxn ang="0">
                  <a:pos x="57" y="80"/>
                </a:cxn>
                <a:cxn ang="0">
                  <a:pos x="88" y="118"/>
                </a:cxn>
                <a:cxn ang="0">
                  <a:pos x="54" y="168"/>
                </a:cxn>
              </a:cxnLst>
              <a:rect l="0" t="0" r="r" b="b"/>
              <a:pathLst>
                <a:path w="137" h="191">
                  <a:moveTo>
                    <a:pt x="83" y="53"/>
                  </a:moveTo>
                  <a:cubicBezTo>
                    <a:pt x="67" y="53"/>
                    <a:pt x="53" y="59"/>
                    <a:pt x="47" y="65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107" y="191"/>
                    <a:pt x="137" y="163"/>
                    <a:pt x="137" y="112"/>
                  </a:cubicBezTo>
                  <a:cubicBezTo>
                    <a:pt x="137" y="78"/>
                    <a:pt x="113" y="53"/>
                    <a:pt x="83" y="53"/>
                  </a:cubicBezTo>
                  <a:moveTo>
                    <a:pt x="54" y="168"/>
                  </a:moveTo>
                  <a:cubicBezTo>
                    <a:pt x="47" y="168"/>
                    <a:pt x="47" y="168"/>
                    <a:pt x="47" y="168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50" y="80"/>
                    <a:pt x="52" y="80"/>
                    <a:pt x="57" y="80"/>
                  </a:cubicBezTo>
                  <a:cubicBezTo>
                    <a:pt x="75" y="80"/>
                    <a:pt x="88" y="96"/>
                    <a:pt x="88" y="118"/>
                  </a:cubicBezTo>
                  <a:cubicBezTo>
                    <a:pt x="88" y="151"/>
                    <a:pt x="76" y="168"/>
                    <a:pt x="54" y="1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 userDrawn="1"/>
          </p:nvSpPr>
          <p:spPr bwMode="white">
            <a:xfrm>
              <a:off x="7588251" y="1679576"/>
              <a:ext cx="69850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6" y="191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6" h="191">
                  <a:moveTo>
                    <a:pt x="0" y="191"/>
                  </a:moveTo>
                  <a:cubicBezTo>
                    <a:pt x="46" y="191"/>
                    <a:pt x="46" y="191"/>
                    <a:pt x="46" y="191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5347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8424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3063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N_PowerPointTemplates_2012_16x9_0629-09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1447800"/>
          </a:xfrm>
          <a:prstGeom prst="rect">
            <a:avLst/>
          </a:prstGeom>
        </p:spPr>
      </p:pic>
      <p:sp>
        <p:nvSpPr>
          <p:cNvPr id="6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00148"/>
            <a:ext cx="8426268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6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" name="Group 69"/>
          <p:cNvGrpSpPr/>
          <p:nvPr userDrawn="1"/>
        </p:nvGrpSpPr>
        <p:grpSpPr bwMode="gray">
          <a:xfrm>
            <a:off x="-2338348" y="0"/>
            <a:ext cx="2059036" cy="4063864"/>
            <a:chOff x="-3298560" y="0"/>
            <a:chExt cx="2059035" cy="4063864"/>
          </a:xfrm>
        </p:grpSpPr>
        <p:sp>
          <p:nvSpPr>
            <p:cNvPr id="71" name="TextBox 70"/>
            <p:cNvSpPr txBox="1"/>
            <p:nvPr userDrawn="1"/>
          </p:nvSpPr>
          <p:spPr bwMode="gray">
            <a:xfrm>
              <a:off x="-1960876" y="1195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21" name="Rectangle 120"/>
            <p:cNvSpPr/>
            <p:nvPr userDrawn="1"/>
          </p:nvSpPr>
          <p:spPr bwMode="gray">
            <a:xfrm>
              <a:off x="-2217425" y="0"/>
              <a:ext cx="177800" cy="17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Rectangle 121"/>
            <p:cNvSpPr/>
            <p:nvPr userDrawn="1"/>
          </p:nvSpPr>
          <p:spPr bwMode="gray">
            <a:xfrm>
              <a:off x="-2217425" y="228592"/>
              <a:ext cx="177800" cy="177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3" name="Rectangle 122"/>
            <p:cNvSpPr/>
            <p:nvPr userDrawn="1"/>
          </p:nvSpPr>
          <p:spPr bwMode="gray">
            <a:xfrm>
              <a:off x="-2217425" y="457184"/>
              <a:ext cx="177800" cy="1778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4" name="Rectangle 123"/>
            <p:cNvSpPr/>
            <p:nvPr userDrawn="1"/>
          </p:nvSpPr>
          <p:spPr bwMode="gray">
            <a:xfrm>
              <a:off x="-2217425" y="1142960"/>
              <a:ext cx="177800" cy="177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5" name="Rectangle 124"/>
            <p:cNvSpPr/>
            <p:nvPr userDrawn="1"/>
          </p:nvSpPr>
          <p:spPr bwMode="gray">
            <a:xfrm>
              <a:off x="-2217425" y="1371552"/>
              <a:ext cx="177800" cy="177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6" name="Rectangle 125"/>
            <p:cNvSpPr/>
            <p:nvPr userDrawn="1"/>
          </p:nvSpPr>
          <p:spPr bwMode="gray">
            <a:xfrm>
              <a:off x="-2217425" y="1600144"/>
              <a:ext cx="177800" cy="177800"/>
            </a:xfrm>
            <a:prstGeom prst="rect">
              <a:avLst/>
            </a:prstGeom>
            <a:solidFill>
              <a:srgbClr val="00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7" name="Rectangle 126"/>
            <p:cNvSpPr/>
            <p:nvPr userDrawn="1"/>
          </p:nvSpPr>
          <p:spPr bwMode="gray">
            <a:xfrm>
              <a:off x="-2217425" y="1828736"/>
              <a:ext cx="177800" cy="177800"/>
            </a:xfrm>
            <a:prstGeom prst="rect">
              <a:avLst/>
            </a:prstGeom>
            <a:solidFill>
              <a:srgbClr val="55BE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Rectangle 127"/>
            <p:cNvSpPr/>
            <p:nvPr userDrawn="1"/>
          </p:nvSpPr>
          <p:spPr bwMode="gray">
            <a:xfrm>
              <a:off x="-2217425" y="2057328"/>
              <a:ext cx="177800" cy="177800"/>
            </a:xfrm>
            <a:prstGeom prst="rect">
              <a:avLst/>
            </a:prstGeom>
            <a:solidFill>
              <a:srgbClr val="446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9" name="Rectangle 128"/>
            <p:cNvSpPr/>
            <p:nvPr userDrawn="1"/>
          </p:nvSpPr>
          <p:spPr bwMode="gray">
            <a:xfrm>
              <a:off x="-2217425" y="2285920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0" name="TextBox 129"/>
            <p:cNvSpPr txBox="1"/>
            <p:nvPr userDrawn="1"/>
          </p:nvSpPr>
          <p:spPr bwMode="gray">
            <a:xfrm>
              <a:off x="-1960876" y="229787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31" name="TextBox 130"/>
            <p:cNvSpPr txBox="1"/>
            <p:nvPr userDrawn="1"/>
          </p:nvSpPr>
          <p:spPr bwMode="gray">
            <a:xfrm>
              <a:off x="-1960876" y="206928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68-105-125</a:t>
              </a:r>
            </a:p>
          </p:txBody>
        </p:sp>
        <p:sp>
          <p:nvSpPr>
            <p:cNvPr id="132" name="TextBox 131"/>
            <p:cNvSpPr txBox="1"/>
            <p:nvPr userDrawn="1"/>
          </p:nvSpPr>
          <p:spPr bwMode="gray">
            <a:xfrm>
              <a:off x="-1960876" y="184069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85-190-207</a:t>
              </a:r>
            </a:p>
          </p:txBody>
        </p:sp>
        <p:sp>
          <p:nvSpPr>
            <p:cNvPr id="133" name="TextBox 132"/>
            <p:cNvSpPr txBox="1"/>
            <p:nvPr userDrawn="1"/>
          </p:nvSpPr>
          <p:spPr bwMode="gray">
            <a:xfrm>
              <a:off x="-1960876" y="161210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46-187</a:t>
              </a:r>
            </a:p>
          </p:txBody>
        </p:sp>
        <p:sp>
          <p:nvSpPr>
            <p:cNvPr id="134" name="TextBox 133"/>
            <p:cNvSpPr txBox="1"/>
            <p:nvPr userDrawn="1"/>
          </p:nvSpPr>
          <p:spPr bwMode="gray">
            <a:xfrm>
              <a:off x="-1960876" y="138350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35" name="TextBox 134"/>
            <p:cNvSpPr txBox="1"/>
            <p:nvPr userDrawn="1"/>
          </p:nvSpPr>
          <p:spPr bwMode="gray">
            <a:xfrm>
              <a:off x="-1960876" y="115491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36" name="TextBox 135"/>
            <p:cNvSpPr txBox="1"/>
            <p:nvPr userDrawn="1"/>
          </p:nvSpPr>
          <p:spPr bwMode="gray">
            <a:xfrm>
              <a:off x="-1960876" y="46914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37" name="TextBox 136"/>
            <p:cNvSpPr txBox="1"/>
            <p:nvPr userDrawn="1"/>
          </p:nvSpPr>
          <p:spPr bwMode="gray">
            <a:xfrm>
              <a:off x="-1960876" y="24054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00-000</a:t>
              </a:r>
            </a:p>
          </p:txBody>
        </p:sp>
        <p:sp>
          <p:nvSpPr>
            <p:cNvPr id="138" name="Rectangle 137"/>
            <p:cNvSpPr/>
            <p:nvPr userDrawn="1"/>
          </p:nvSpPr>
          <p:spPr bwMode="gray">
            <a:xfrm>
              <a:off x="-2217425" y="685776"/>
              <a:ext cx="177800" cy="177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9" name="TextBox 138"/>
            <p:cNvSpPr txBox="1"/>
            <p:nvPr userDrawn="1"/>
          </p:nvSpPr>
          <p:spPr bwMode="gray">
            <a:xfrm>
              <a:off x="-1960876" y="69773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40" name="Rectangle 139"/>
            <p:cNvSpPr/>
            <p:nvPr userDrawn="1"/>
          </p:nvSpPr>
          <p:spPr bwMode="gray">
            <a:xfrm>
              <a:off x="-2217425" y="2743104"/>
              <a:ext cx="177800" cy="1778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1" name="TextBox 140"/>
            <p:cNvSpPr txBox="1"/>
            <p:nvPr userDrawn="1"/>
          </p:nvSpPr>
          <p:spPr bwMode="gray">
            <a:xfrm>
              <a:off x="-1960876" y="275506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42" name="Rectangle 141"/>
            <p:cNvSpPr/>
            <p:nvPr userDrawn="1"/>
          </p:nvSpPr>
          <p:spPr bwMode="gray">
            <a:xfrm>
              <a:off x="-2217425" y="2971696"/>
              <a:ext cx="177800" cy="1778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3" name="TextBox 142"/>
            <p:cNvSpPr txBox="1"/>
            <p:nvPr userDrawn="1"/>
          </p:nvSpPr>
          <p:spPr bwMode="gray">
            <a:xfrm>
              <a:off x="-1960876" y="298365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44" name="Rectangle 143"/>
            <p:cNvSpPr/>
            <p:nvPr userDrawn="1"/>
          </p:nvSpPr>
          <p:spPr bwMode="gray">
            <a:xfrm>
              <a:off x="-2217425" y="3200288"/>
              <a:ext cx="177800" cy="177800"/>
            </a:xfrm>
            <a:prstGeom prst="rect">
              <a:avLst/>
            </a:prstGeom>
            <a:solidFill>
              <a:srgbClr val="868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5" name="TextBox 144"/>
            <p:cNvSpPr txBox="1"/>
            <p:nvPr userDrawn="1"/>
          </p:nvSpPr>
          <p:spPr bwMode="gray">
            <a:xfrm>
              <a:off x="-1960876" y="321224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46" name="Rectangle 145"/>
            <p:cNvSpPr/>
            <p:nvPr userDrawn="1"/>
          </p:nvSpPr>
          <p:spPr bwMode="gray">
            <a:xfrm>
              <a:off x="-2217425" y="3428880"/>
              <a:ext cx="177800" cy="177800"/>
            </a:xfrm>
            <a:prstGeom prst="rect">
              <a:avLst/>
            </a:prstGeom>
            <a:solidFill>
              <a:srgbClr val="B7B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7" name="TextBox 146"/>
            <p:cNvSpPr txBox="1"/>
            <p:nvPr userDrawn="1"/>
          </p:nvSpPr>
          <p:spPr bwMode="gray">
            <a:xfrm>
              <a:off x="-1960876" y="344083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48" name="Rectangle 147"/>
            <p:cNvSpPr/>
            <p:nvPr userDrawn="1"/>
          </p:nvSpPr>
          <p:spPr bwMode="gray">
            <a:xfrm>
              <a:off x="-2217425" y="3657472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9" name="TextBox 148"/>
            <p:cNvSpPr txBox="1"/>
            <p:nvPr userDrawn="1"/>
          </p:nvSpPr>
          <p:spPr bwMode="gray">
            <a:xfrm>
              <a:off x="-1960876" y="366942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50" name="Rectangle 149"/>
            <p:cNvSpPr/>
            <p:nvPr userDrawn="1"/>
          </p:nvSpPr>
          <p:spPr bwMode="gray">
            <a:xfrm>
              <a:off x="-2217425" y="3886064"/>
              <a:ext cx="177800" cy="177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51" name="TextBox 150"/>
            <p:cNvSpPr txBox="1"/>
            <p:nvPr userDrawn="1"/>
          </p:nvSpPr>
          <p:spPr bwMode="gray">
            <a:xfrm>
              <a:off x="-1960876" y="389802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52" name="TextBox 151"/>
            <p:cNvSpPr txBox="1"/>
            <p:nvPr userDrawn="1"/>
          </p:nvSpPr>
          <p:spPr bwMode="gray">
            <a:xfrm>
              <a:off x="-3298560" y="11956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1</a:t>
              </a:r>
            </a:p>
          </p:txBody>
        </p:sp>
        <p:sp>
          <p:nvSpPr>
            <p:cNvPr id="153" name="TextBox 152"/>
            <p:cNvSpPr txBox="1"/>
            <p:nvPr userDrawn="1"/>
          </p:nvSpPr>
          <p:spPr bwMode="gray">
            <a:xfrm>
              <a:off x="-3298560" y="229787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6</a:t>
              </a:r>
            </a:p>
          </p:txBody>
        </p:sp>
        <p:sp>
          <p:nvSpPr>
            <p:cNvPr id="154" name="TextBox 153"/>
            <p:cNvSpPr txBox="1"/>
            <p:nvPr userDrawn="1"/>
          </p:nvSpPr>
          <p:spPr bwMode="gray">
            <a:xfrm>
              <a:off x="-3298560" y="2069284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5</a:t>
              </a:r>
            </a:p>
          </p:txBody>
        </p:sp>
        <p:sp>
          <p:nvSpPr>
            <p:cNvPr id="155" name="TextBox 154"/>
            <p:cNvSpPr txBox="1"/>
            <p:nvPr userDrawn="1"/>
          </p:nvSpPr>
          <p:spPr bwMode="gray">
            <a:xfrm>
              <a:off x="-3298560" y="1840692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4</a:t>
              </a:r>
            </a:p>
          </p:txBody>
        </p:sp>
        <p:sp>
          <p:nvSpPr>
            <p:cNvPr id="156" name="TextBox 155"/>
            <p:cNvSpPr txBox="1"/>
            <p:nvPr userDrawn="1"/>
          </p:nvSpPr>
          <p:spPr bwMode="gray">
            <a:xfrm>
              <a:off x="-3298560" y="1612100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3</a:t>
              </a:r>
            </a:p>
          </p:txBody>
        </p:sp>
        <p:sp>
          <p:nvSpPr>
            <p:cNvPr id="157" name="TextBox 156"/>
            <p:cNvSpPr txBox="1"/>
            <p:nvPr userDrawn="1"/>
          </p:nvSpPr>
          <p:spPr bwMode="gray">
            <a:xfrm>
              <a:off x="-3298560" y="1383508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2</a:t>
              </a:r>
            </a:p>
          </p:txBody>
        </p:sp>
        <p:sp>
          <p:nvSpPr>
            <p:cNvPr id="158" name="TextBox 157"/>
            <p:cNvSpPr txBox="1"/>
            <p:nvPr userDrawn="1"/>
          </p:nvSpPr>
          <p:spPr bwMode="gray">
            <a:xfrm>
              <a:off x="-3298560" y="115491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1</a:t>
              </a:r>
            </a:p>
          </p:txBody>
        </p:sp>
        <p:sp>
          <p:nvSpPr>
            <p:cNvPr id="159" name="TextBox 158"/>
            <p:cNvSpPr txBox="1"/>
            <p:nvPr userDrawn="1"/>
          </p:nvSpPr>
          <p:spPr bwMode="gray">
            <a:xfrm>
              <a:off x="-3298560" y="469140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2</a:t>
              </a:r>
            </a:p>
          </p:txBody>
        </p:sp>
        <p:sp>
          <p:nvSpPr>
            <p:cNvPr id="160" name="TextBox 159"/>
            <p:cNvSpPr txBox="1"/>
            <p:nvPr userDrawn="1"/>
          </p:nvSpPr>
          <p:spPr bwMode="gray">
            <a:xfrm>
              <a:off x="-3298560" y="240548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1</a:t>
              </a:r>
            </a:p>
          </p:txBody>
        </p:sp>
        <p:sp>
          <p:nvSpPr>
            <p:cNvPr id="161" name="TextBox 160"/>
            <p:cNvSpPr txBox="1"/>
            <p:nvPr userDrawn="1"/>
          </p:nvSpPr>
          <p:spPr bwMode="gray">
            <a:xfrm>
              <a:off x="-3298560" y="697732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2</a:t>
              </a:r>
            </a:p>
          </p:txBody>
        </p:sp>
        <p:sp>
          <p:nvSpPr>
            <p:cNvPr id="162" name="TextBox 161"/>
            <p:cNvSpPr txBox="1"/>
            <p:nvPr userDrawn="1"/>
          </p:nvSpPr>
          <p:spPr bwMode="gray">
            <a:xfrm>
              <a:off x="-3298560" y="2755060"/>
              <a:ext cx="34144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Hyper</a:t>
              </a:r>
            </a:p>
          </p:txBody>
        </p:sp>
        <p:sp>
          <p:nvSpPr>
            <p:cNvPr id="163" name="TextBox 162"/>
            <p:cNvSpPr txBox="1"/>
            <p:nvPr userDrawn="1"/>
          </p:nvSpPr>
          <p:spPr bwMode="gray">
            <a:xfrm>
              <a:off x="-3298560" y="2983652"/>
              <a:ext cx="49051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F. Hyper</a:t>
              </a:r>
            </a:p>
          </p:txBody>
        </p:sp>
        <p:sp>
          <p:nvSpPr>
            <p:cNvPr id="164" name="TextBox 163"/>
            <p:cNvSpPr txBox="1"/>
            <p:nvPr userDrawn="1"/>
          </p:nvSpPr>
          <p:spPr bwMode="gray">
            <a:xfrm>
              <a:off x="-3298560" y="3212244"/>
              <a:ext cx="4472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D2</a:t>
              </a:r>
            </a:p>
          </p:txBody>
        </p:sp>
        <p:sp>
          <p:nvSpPr>
            <p:cNvPr id="165" name="TextBox 164"/>
            <p:cNvSpPr txBox="1"/>
            <p:nvPr userDrawn="1"/>
          </p:nvSpPr>
          <p:spPr bwMode="gray">
            <a:xfrm>
              <a:off x="-3298560" y="3440836"/>
              <a:ext cx="42479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L2</a:t>
              </a:r>
            </a:p>
          </p:txBody>
        </p:sp>
        <p:sp>
          <p:nvSpPr>
            <p:cNvPr id="166" name="TextBox 165"/>
            <p:cNvSpPr txBox="1"/>
            <p:nvPr userDrawn="1"/>
          </p:nvSpPr>
          <p:spPr bwMode="gray">
            <a:xfrm>
              <a:off x="-3298560" y="3669428"/>
              <a:ext cx="75020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</a:t>
              </a:r>
            </a:p>
          </p:txBody>
        </p:sp>
        <p:sp>
          <p:nvSpPr>
            <p:cNvPr id="167" name="TextBox 166"/>
            <p:cNvSpPr txBox="1"/>
            <p:nvPr userDrawn="1"/>
          </p:nvSpPr>
          <p:spPr bwMode="gray">
            <a:xfrm>
              <a:off x="-3298560" y="3898020"/>
              <a:ext cx="997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 2nd</a:t>
              </a:r>
            </a:p>
          </p:txBody>
        </p:sp>
      </p:grpSp>
      <p:sp>
        <p:nvSpPr>
          <p:cNvPr id="83" name="Title 8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 marL="541338" indent="-541338">
              <a:buFont typeface="+mj-lt"/>
              <a:buAutoNum type="arabicPeriod"/>
              <a:tabLst>
                <a:tab pos="541338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4" name="Slide Number Placeholder 8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5" name="Footer Placeholder 8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Strategy Update 2013</a:t>
            </a:r>
            <a:endParaRPr dirty="0"/>
          </a:p>
        </p:txBody>
      </p:sp>
      <p:grpSp>
        <p:nvGrpSpPr>
          <p:cNvPr id="3" name="Group 94"/>
          <p:cNvGrpSpPr/>
          <p:nvPr userDrawn="1"/>
        </p:nvGrpSpPr>
        <p:grpSpPr bwMode="black">
          <a:xfrm>
            <a:off x="7024688" y="372874"/>
            <a:ext cx="1770062" cy="260547"/>
            <a:chOff x="5619751" y="1679576"/>
            <a:chExt cx="2038350" cy="300038"/>
          </a:xfrm>
          <a:solidFill>
            <a:srgbClr val="FFFFFF"/>
          </a:solidFill>
        </p:grpSpPr>
        <p:sp>
          <p:nvSpPr>
            <p:cNvPr id="68" name="Freeform 7"/>
            <p:cNvSpPr>
              <a:spLocks/>
            </p:cNvSpPr>
            <p:nvPr userDrawn="1"/>
          </p:nvSpPr>
          <p:spPr bwMode="black">
            <a:xfrm>
              <a:off x="6142038" y="1765301"/>
              <a:ext cx="185738" cy="209550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5" y="136"/>
                </a:cxn>
                <a:cxn ang="0">
                  <a:pos x="120" y="120"/>
                </a:cxn>
                <a:cxn ang="0">
                  <a:pos x="120" y="111"/>
                </a:cxn>
                <a:cxn ang="0">
                  <a:pos x="93" y="113"/>
                </a:cxn>
                <a:cxn ang="0">
                  <a:pos x="60" y="113"/>
                </a:cxn>
                <a:cxn ang="0">
                  <a:pos x="118" y="0"/>
                </a:cxn>
                <a:cxn ang="0">
                  <a:pos x="3" y="0"/>
                </a:cxn>
                <a:cxn ang="0">
                  <a:pos x="3" y="22"/>
                </a:cxn>
                <a:cxn ang="0">
                  <a:pos x="55" y="22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20" h="136">
                  <a:moveTo>
                    <a:pt x="2" y="136"/>
                  </a:moveTo>
                  <a:cubicBezTo>
                    <a:pt x="105" y="136"/>
                    <a:pt x="105" y="136"/>
                    <a:pt x="105" y="136"/>
                  </a:cubicBezTo>
                  <a:cubicBezTo>
                    <a:pt x="114" y="136"/>
                    <a:pt x="120" y="129"/>
                    <a:pt x="120" y="120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5" y="112"/>
                    <a:pt x="107" y="113"/>
                    <a:pt x="93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9" name="Freeform 8"/>
            <p:cNvSpPr>
              <a:spLocks/>
            </p:cNvSpPr>
            <p:nvPr userDrawn="1"/>
          </p:nvSpPr>
          <p:spPr bwMode="black">
            <a:xfrm>
              <a:off x="5988051" y="1765301"/>
              <a:ext cx="142875" cy="20955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6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5" y="52"/>
                </a:cxn>
                <a:cxn ang="0">
                  <a:pos x="90" y="0"/>
                </a:cxn>
                <a:cxn ang="0">
                  <a:pos x="50" y="0"/>
                </a:cxn>
                <a:cxn ang="0">
                  <a:pos x="0" y="63"/>
                </a:cxn>
              </a:cxnLst>
              <a:rect l="0" t="0" r="r" b="b"/>
              <a:pathLst>
                <a:path w="92" h="136">
                  <a:moveTo>
                    <a:pt x="0" y="63"/>
                  </a:moveTo>
                  <a:cubicBezTo>
                    <a:pt x="26" y="115"/>
                    <a:pt x="26" y="115"/>
                    <a:pt x="26" y="115"/>
                  </a:cubicBezTo>
                  <a:cubicBezTo>
                    <a:pt x="34" y="129"/>
                    <a:pt x="37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89" y="134"/>
                    <a:pt x="87" y="131"/>
                    <a:pt x="84" y="124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2" name="Freeform 9"/>
            <p:cNvSpPr>
              <a:spLocks/>
            </p:cNvSpPr>
            <p:nvPr userDrawn="1"/>
          </p:nvSpPr>
          <p:spPr bwMode="black">
            <a:xfrm>
              <a:off x="5911851" y="1679576"/>
              <a:ext cx="71438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7" y="191"/>
                </a:cxn>
                <a:cxn ang="0">
                  <a:pos x="47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7" h="191">
                  <a:moveTo>
                    <a:pt x="0" y="191"/>
                  </a:moveTo>
                  <a:cubicBezTo>
                    <a:pt x="47" y="191"/>
                    <a:pt x="47" y="191"/>
                    <a:pt x="47" y="19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3" name="Freeform 10"/>
            <p:cNvSpPr>
              <a:spLocks noEditPoints="1"/>
            </p:cNvSpPr>
            <p:nvPr userDrawn="1"/>
          </p:nvSpPr>
          <p:spPr bwMode="black">
            <a:xfrm>
              <a:off x="5619751" y="1703388"/>
              <a:ext cx="268288" cy="271463"/>
            </a:xfrm>
            <a:custGeom>
              <a:avLst/>
              <a:gdLst/>
              <a:ahLst/>
              <a:cxnLst>
                <a:cxn ang="0">
                  <a:pos x="169" y="163"/>
                </a:cxn>
                <a:cxn ang="0">
                  <a:pos x="122" y="24"/>
                </a:cxn>
                <a:cxn ang="0">
                  <a:pos x="88" y="0"/>
                </a:cxn>
                <a:cxn ang="0">
                  <a:pos x="66" y="0"/>
                </a:cxn>
                <a:cxn ang="0">
                  <a:pos x="0" y="176"/>
                </a:cxn>
                <a:cxn ang="0">
                  <a:pos x="30" y="176"/>
                </a:cxn>
                <a:cxn ang="0">
                  <a:pos x="45" y="132"/>
                </a:cxn>
                <a:cxn ang="0">
                  <a:pos x="108" y="132"/>
                </a:cxn>
                <a:cxn ang="0">
                  <a:pos x="117" y="160"/>
                </a:cxn>
                <a:cxn ang="0">
                  <a:pos x="135" y="175"/>
                </a:cxn>
                <a:cxn ang="0">
                  <a:pos x="175" y="175"/>
                </a:cxn>
                <a:cxn ang="0">
                  <a:pos x="169" y="163"/>
                </a:cxn>
                <a:cxn ang="0">
                  <a:pos x="52" y="111"/>
                </a:cxn>
                <a:cxn ang="0">
                  <a:pos x="77" y="37"/>
                </a:cxn>
                <a:cxn ang="0">
                  <a:pos x="101" y="111"/>
                </a:cxn>
                <a:cxn ang="0">
                  <a:pos x="52" y="111"/>
                </a:cxn>
              </a:cxnLst>
              <a:rect l="0" t="0" r="r" b="b"/>
              <a:pathLst>
                <a:path w="175" h="176">
                  <a:moveTo>
                    <a:pt x="169" y="163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7" y="7"/>
                    <a:pt x="111" y="0"/>
                    <a:pt x="8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0" y="171"/>
                    <a:pt x="124" y="175"/>
                    <a:pt x="135" y="175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3" y="174"/>
                    <a:pt x="172" y="170"/>
                    <a:pt x="169" y="163"/>
                  </a:cubicBezTo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1" y="111"/>
                    <a:pt x="101" y="111"/>
                    <a:pt x="101" y="111"/>
                  </a:cubicBezTo>
                  <a:lnTo>
                    <a:pt x="52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4" name="Freeform 11"/>
            <p:cNvSpPr>
              <a:spLocks noEditPoints="1"/>
            </p:cNvSpPr>
            <p:nvPr userDrawn="1"/>
          </p:nvSpPr>
          <p:spPr bwMode="black">
            <a:xfrm>
              <a:off x="6337301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3" y="118"/>
                </a:cxn>
                <a:cxn ang="0">
                  <a:pos x="51" y="71"/>
                </a:cxn>
                <a:cxn ang="0">
                  <a:pos x="73" y="25"/>
                </a:cxn>
                <a:cxn ang="0">
                  <a:pos x="94" y="73"/>
                </a:cxn>
                <a:cxn ang="0">
                  <a:pos x="73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3" y="0"/>
                    <a:pt x="73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3" y="118"/>
                  </a:moveTo>
                  <a:cubicBezTo>
                    <a:pt x="57" y="118"/>
                    <a:pt x="51" y="100"/>
                    <a:pt x="51" y="71"/>
                  </a:cubicBezTo>
                  <a:cubicBezTo>
                    <a:pt x="51" y="43"/>
                    <a:pt x="57" y="25"/>
                    <a:pt x="73" y="25"/>
                  </a:cubicBezTo>
                  <a:cubicBezTo>
                    <a:pt x="89" y="25"/>
                    <a:pt x="94" y="44"/>
                    <a:pt x="94" y="73"/>
                  </a:cubicBezTo>
                  <a:cubicBezTo>
                    <a:pt x="94" y="100"/>
                    <a:pt x="89" y="118"/>
                    <a:pt x="73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5" name="Freeform 12"/>
            <p:cNvSpPr>
              <a:spLocks/>
            </p:cNvSpPr>
            <p:nvPr userDrawn="1"/>
          </p:nvSpPr>
          <p:spPr bwMode="black">
            <a:xfrm>
              <a:off x="6592888" y="1701801"/>
              <a:ext cx="238125" cy="273050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29" y="177"/>
                </a:cxn>
                <a:cxn ang="0">
                  <a:pos x="29" y="64"/>
                </a:cxn>
                <a:cxn ang="0">
                  <a:pos x="104" y="154"/>
                </a:cxn>
                <a:cxn ang="0">
                  <a:pos x="132" y="177"/>
                </a:cxn>
                <a:cxn ang="0">
                  <a:pos x="154" y="177"/>
                </a:cxn>
                <a:cxn ang="0">
                  <a:pos x="154" y="15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6"/>
                </a:cxn>
                <a:cxn ang="0">
                  <a:pos x="53" y="21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29" y="177"/>
                    <a:pt x="29" y="177"/>
                    <a:pt x="29" y="177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4" y="167"/>
                    <a:pt x="121" y="177"/>
                    <a:pt x="132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6"/>
                    <a:pt x="147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2" y="8"/>
                    <a:pt x="37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6" name="Freeform 13"/>
            <p:cNvSpPr>
              <a:spLocks noEditPoints="1"/>
            </p:cNvSpPr>
            <p:nvPr userDrawn="1"/>
          </p:nvSpPr>
          <p:spPr bwMode="black">
            <a:xfrm>
              <a:off x="6861176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2" y="118"/>
                </a:cxn>
                <a:cxn ang="0">
                  <a:pos x="50" y="71"/>
                </a:cxn>
                <a:cxn ang="0">
                  <a:pos x="72" y="25"/>
                </a:cxn>
                <a:cxn ang="0">
                  <a:pos x="93" y="73"/>
                </a:cxn>
                <a:cxn ang="0">
                  <a:pos x="72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2" y="0"/>
                    <a:pt x="72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2" y="118"/>
                  </a:moveTo>
                  <a:cubicBezTo>
                    <a:pt x="56" y="118"/>
                    <a:pt x="50" y="100"/>
                    <a:pt x="50" y="71"/>
                  </a:cubicBezTo>
                  <a:cubicBezTo>
                    <a:pt x="50" y="43"/>
                    <a:pt x="56" y="25"/>
                    <a:pt x="72" y="25"/>
                  </a:cubicBezTo>
                  <a:cubicBezTo>
                    <a:pt x="88" y="25"/>
                    <a:pt x="93" y="45"/>
                    <a:pt x="93" y="73"/>
                  </a:cubicBezTo>
                  <a:cubicBezTo>
                    <a:pt x="93" y="100"/>
                    <a:pt x="88" y="118"/>
                    <a:pt x="72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7" name="Freeform 14"/>
            <p:cNvSpPr>
              <a:spLocks noEditPoints="1"/>
            </p:cNvSpPr>
            <p:nvPr userDrawn="1"/>
          </p:nvSpPr>
          <p:spPr bwMode="black">
            <a:xfrm>
              <a:off x="7350126" y="1760538"/>
              <a:ext cx="206375" cy="219075"/>
            </a:xfrm>
            <a:custGeom>
              <a:avLst/>
              <a:gdLst/>
              <a:ahLst/>
              <a:cxnLst>
                <a:cxn ang="0">
                  <a:pos x="134" y="73"/>
                </a:cxn>
                <a:cxn ang="0">
                  <a:pos x="135" y="57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9" y="142"/>
                </a:cxn>
                <a:cxn ang="0">
                  <a:pos x="128" y="99"/>
                </a:cxn>
                <a:cxn ang="0">
                  <a:pos x="89" y="109"/>
                </a:cxn>
                <a:cxn ang="0">
                  <a:pos x="47" y="73"/>
                </a:cxn>
                <a:cxn ang="0">
                  <a:pos x="134" y="73"/>
                </a:cxn>
                <a:cxn ang="0">
                  <a:pos x="47" y="54"/>
                </a:cxn>
                <a:cxn ang="0">
                  <a:pos x="70" y="22"/>
                </a:cxn>
                <a:cxn ang="0">
                  <a:pos x="92" y="54"/>
                </a:cxn>
                <a:cxn ang="0">
                  <a:pos x="47" y="54"/>
                </a:cxn>
              </a:cxnLst>
              <a:rect l="0" t="0" r="r" b="b"/>
              <a:pathLst>
                <a:path w="135" h="142">
                  <a:moveTo>
                    <a:pt x="134" y="73"/>
                  </a:moveTo>
                  <a:cubicBezTo>
                    <a:pt x="135" y="68"/>
                    <a:pt x="135" y="62"/>
                    <a:pt x="135" y="57"/>
                  </a:cubicBezTo>
                  <a:cubicBezTo>
                    <a:pt x="135" y="25"/>
                    <a:pt x="111" y="0"/>
                    <a:pt x="70" y="0"/>
                  </a:cubicBezTo>
                  <a:cubicBezTo>
                    <a:pt x="30" y="0"/>
                    <a:pt x="0" y="28"/>
                    <a:pt x="0" y="71"/>
                  </a:cubicBezTo>
                  <a:cubicBezTo>
                    <a:pt x="0" y="113"/>
                    <a:pt x="26" y="142"/>
                    <a:pt x="69" y="142"/>
                  </a:cubicBezTo>
                  <a:cubicBezTo>
                    <a:pt x="111" y="142"/>
                    <a:pt x="127" y="120"/>
                    <a:pt x="128" y="99"/>
                  </a:cubicBezTo>
                  <a:cubicBezTo>
                    <a:pt x="118" y="105"/>
                    <a:pt x="104" y="109"/>
                    <a:pt x="89" y="109"/>
                  </a:cubicBezTo>
                  <a:cubicBezTo>
                    <a:pt x="65" y="109"/>
                    <a:pt x="50" y="95"/>
                    <a:pt x="47" y="73"/>
                  </a:cubicBezTo>
                  <a:lnTo>
                    <a:pt x="134" y="73"/>
                  </a:lnTo>
                  <a:close/>
                  <a:moveTo>
                    <a:pt x="47" y="54"/>
                  </a:moveTo>
                  <a:cubicBezTo>
                    <a:pt x="49" y="35"/>
                    <a:pt x="57" y="22"/>
                    <a:pt x="70" y="22"/>
                  </a:cubicBezTo>
                  <a:cubicBezTo>
                    <a:pt x="88" y="22"/>
                    <a:pt x="92" y="54"/>
                    <a:pt x="92" y="54"/>
                  </a:cubicBezTo>
                  <a:lnTo>
                    <a:pt x="47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8" name="Freeform 15"/>
            <p:cNvSpPr>
              <a:spLocks noEditPoints="1"/>
            </p:cNvSpPr>
            <p:nvPr userDrawn="1"/>
          </p:nvSpPr>
          <p:spPr bwMode="black">
            <a:xfrm>
              <a:off x="7113588" y="1679576"/>
              <a:ext cx="211138" cy="295275"/>
            </a:xfrm>
            <a:custGeom>
              <a:avLst/>
              <a:gdLst/>
              <a:ahLst/>
              <a:cxnLst>
                <a:cxn ang="0">
                  <a:pos x="83" y="53"/>
                </a:cxn>
                <a:cxn ang="0">
                  <a:pos x="47" y="65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55" y="191"/>
                </a:cxn>
                <a:cxn ang="0">
                  <a:pos x="137" y="112"/>
                </a:cxn>
                <a:cxn ang="0">
                  <a:pos x="83" y="53"/>
                </a:cxn>
                <a:cxn ang="0">
                  <a:pos x="54" y="168"/>
                </a:cxn>
                <a:cxn ang="0">
                  <a:pos x="47" y="168"/>
                </a:cxn>
                <a:cxn ang="0">
                  <a:pos x="47" y="80"/>
                </a:cxn>
                <a:cxn ang="0">
                  <a:pos x="57" y="80"/>
                </a:cxn>
                <a:cxn ang="0">
                  <a:pos x="88" y="118"/>
                </a:cxn>
                <a:cxn ang="0">
                  <a:pos x="54" y="168"/>
                </a:cxn>
              </a:cxnLst>
              <a:rect l="0" t="0" r="r" b="b"/>
              <a:pathLst>
                <a:path w="137" h="191">
                  <a:moveTo>
                    <a:pt x="83" y="53"/>
                  </a:moveTo>
                  <a:cubicBezTo>
                    <a:pt x="67" y="53"/>
                    <a:pt x="53" y="59"/>
                    <a:pt x="47" y="65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107" y="191"/>
                    <a:pt x="137" y="163"/>
                    <a:pt x="137" y="112"/>
                  </a:cubicBezTo>
                  <a:cubicBezTo>
                    <a:pt x="137" y="78"/>
                    <a:pt x="113" y="53"/>
                    <a:pt x="83" y="53"/>
                  </a:cubicBezTo>
                  <a:moveTo>
                    <a:pt x="54" y="168"/>
                  </a:moveTo>
                  <a:cubicBezTo>
                    <a:pt x="47" y="168"/>
                    <a:pt x="47" y="168"/>
                    <a:pt x="47" y="168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50" y="80"/>
                    <a:pt x="52" y="80"/>
                    <a:pt x="57" y="80"/>
                  </a:cubicBezTo>
                  <a:cubicBezTo>
                    <a:pt x="75" y="80"/>
                    <a:pt x="88" y="96"/>
                    <a:pt x="88" y="118"/>
                  </a:cubicBezTo>
                  <a:cubicBezTo>
                    <a:pt x="88" y="151"/>
                    <a:pt x="76" y="168"/>
                    <a:pt x="54" y="1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79" name="Freeform 16"/>
            <p:cNvSpPr>
              <a:spLocks/>
            </p:cNvSpPr>
            <p:nvPr userDrawn="1"/>
          </p:nvSpPr>
          <p:spPr bwMode="black">
            <a:xfrm>
              <a:off x="7588251" y="1679576"/>
              <a:ext cx="69850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6" y="191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6" h="191">
                  <a:moveTo>
                    <a:pt x="0" y="191"/>
                  </a:moveTo>
                  <a:cubicBezTo>
                    <a:pt x="46" y="191"/>
                    <a:pt x="46" y="191"/>
                    <a:pt x="46" y="191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07790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/>
          <p:cNvSpPr/>
          <p:nvPr userDrawn="1"/>
        </p:nvSpPr>
        <p:spPr bwMode="gray">
          <a:xfrm>
            <a:off x="0" y="0"/>
            <a:ext cx="9144000" cy="144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1" y="1600148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6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3" name="Title 122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t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4" name="Slide Number Placeholder 1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5" name="Footer Placeholder 1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Strategy Update 2013</a:t>
            </a:r>
            <a:endParaRPr dirty="0"/>
          </a:p>
        </p:txBody>
      </p:sp>
      <p:grpSp>
        <p:nvGrpSpPr>
          <p:cNvPr id="2" name="Group 94"/>
          <p:cNvGrpSpPr/>
          <p:nvPr userDrawn="1"/>
        </p:nvGrpSpPr>
        <p:grpSpPr bwMode="black">
          <a:xfrm>
            <a:off x="7024688" y="372874"/>
            <a:ext cx="1770062" cy="260547"/>
            <a:chOff x="5619751" y="1679576"/>
            <a:chExt cx="2038350" cy="300038"/>
          </a:xfrm>
          <a:solidFill>
            <a:srgbClr val="FFFFFF"/>
          </a:solidFill>
        </p:grpSpPr>
        <p:sp>
          <p:nvSpPr>
            <p:cNvPr id="19" name="Freeform 7"/>
            <p:cNvSpPr>
              <a:spLocks/>
            </p:cNvSpPr>
            <p:nvPr userDrawn="1"/>
          </p:nvSpPr>
          <p:spPr bwMode="black">
            <a:xfrm>
              <a:off x="6142038" y="1765301"/>
              <a:ext cx="185738" cy="209550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5" y="136"/>
                </a:cxn>
                <a:cxn ang="0">
                  <a:pos x="120" y="120"/>
                </a:cxn>
                <a:cxn ang="0">
                  <a:pos x="120" y="111"/>
                </a:cxn>
                <a:cxn ang="0">
                  <a:pos x="93" y="113"/>
                </a:cxn>
                <a:cxn ang="0">
                  <a:pos x="60" y="113"/>
                </a:cxn>
                <a:cxn ang="0">
                  <a:pos x="118" y="0"/>
                </a:cxn>
                <a:cxn ang="0">
                  <a:pos x="3" y="0"/>
                </a:cxn>
                <a:cxn ang="0">
                  <a:pos x="3" y="22"/>
                </a:cxn>
                <a:cxn ang="0">
                  <a:pos x="55" y="22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20" h="136">
                  <a:moveTo>
                    <a:pt x="2" y="136"/>
                  </a:moveTo>
                  <a:cubicBezTo>
                    <a:pt x="105" y="136"/>
                    <a:pt x="105" y="136"/>
                    <a:pt x="105" y="136"/>
                  </a:cubicBezTo>
                  <a:cubicBezTo>
                    <a:pt x="114" y="136"/>
                    <a:pt x="120" y="129"/>
                    <a:pt x="120" y="120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5" y="112"/>
                    <a:pt x="107" y="113"/>
                    <a:pt x="93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black">
            <a:xfrm>
              <a:off x="5988051" y="1765301"/>
              <a:ext cx="142875" cy="20955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6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5" y="52"/>
                </a:cxn>
                <a:cxn ang="0">
                  <a:pos x="90" y="0"/>
                </a:cxn>
                <a:cxn ang="0">
                  <a:pos x="50" y="0"/>
                </a:cxn>
                <a:cxn ang="0">
                  <a:pos x="0" y="63"/>
                </a:cxn>
              </a:cxnLst>
              <a:rect l="0" t="0" r="r" b="b"/>
              <a:pathLst>
                <a:path w="92" h="136">
                  <a:moveTo>
                    <a:pt x="0" y="63"/>
                  </a:moveTo>
                  <a:cubicBezTo>
                    <a:pt x="26" y="115"/>
                    <a:pt x="26" y="115"/>
                    <a:pt x="26" y="115"/>
                  </a:cubicBezTo>
                  <a:cubicBezTo>
                    <a:pt x="34" y="129"/>
                    <a:pt x="37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89" y="134"/>
                    <a:pt x="87" y="131"/>
                    <a:pt x="84" y="124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black">
            <a:xfrm>
              <a:off x="5911851" y="1679576"/>
              <a:ext cx="71438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7" y="191"/>
                </a:cxn>
                <a:cxn ang="0">
                  <a:pos x="47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7" h="191">
                  <a:moveTo>
                    <a:pt x="0" y="191"/>
                  </a:moveTo>
                  <a:cubicBezTo>
                    <a:pt x="47" y="191"/>
                    <a:pt x="47" y="191"/>
                    <a:pt x="47" y="19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10"/>
            <p:cNvSpPr>
              <a:spLocks noEditPoints="1"/>
            </p:cNvSpPr>
            <p:nvPr userDrawn="1"/>
          </p:nvSpPr>
          <p:spPr bwMode="black">
            <a:xfrm>
              <a:off x="5619751" y="1703388"/>
              <a:ext cx="268288" cy="271463"/>
            </a:xfrm>
            <a:custGeom>
              <a:avLst/>
              <a:gdLst/>
              <a:ahLst/>
              <a:cxnLst>
                <a:cxn ang="0">
                  <a:pos x="169" y="163"/>
                </a:cxn>
                <a:cxn ang="0">
                  <a:pos x="122" y="24"/>
                </a:cxn>
                <a:cxn ang="0">
                  <a:pos x="88" y="0"/>
                </a:cxn>
                <a:cxn ang="0">
                  <a:pos x="66" y="0"/>
                </a:cxn>
                <a:cxn ang="0">
                  <a:pos x="0" y="176"/>
                </a:cxn>
                <a:cxn ang="0">
                  <a:pos x="30" y="176"/>
                </a:cxn>
                <a:cxn ang="0">
                  <a:pos x="45" y="132"/>
                </a:cxn>
                <a:cxn ang="0">
                  <a:pos x="108" y="132"/>
                </a:cxn>
                <a:cxn ang="0">
                  <a:pos x="117" y="160"/>
                </a:cxn>
                <a:cxn ang="0">
                  <a:pos x="135" y="175"/>
                </a:cxn>
                <a:cxn ang="0">
                  <a:pos x="175" y="175"/>
                </a:cxn>
                <a:cxn ang="0">
                  <a:pos x="169" y="163"/>
                </a:cxn>
                <a:cxn ang="0">
                  <a:pos x="52" y="111"/>
                </a:cxn>
                <a:cxn ang="0">
                  <a:pos x="77" y="37"/>
                </a:cxn>
                <a:cxn ang="0">
                  <a:pos x="101" y="111"/>
                </a:cxn>
                <a:cxn ang="0">
                  <a:pos x="52" y="111"/>
                </a:cxn>
              </a:cxnLst>
              <a:rect l="0" t="0" r="r" b="b"/>
              <a:pathLst>
                <a:path w="175" h="176">
                  <a:moveTo>
                    <a:pt x="169" y="163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7" y="7"/>
                    <a:pt x="111" y="0"/>
                    <a:pt x="8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0" y="171"/>
                    <a:pt x="124" y="175"/>
                    <a:pt x="135" y="175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3" y="174"/>
                    <a:pt x="172" y="170"/>
                    <a:pt x="169" y="163"/>
                  </a:cubicBezTo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1" y="111"/>
                    <a:pt x="101" y="111"/>
                    <a:pt x="101" y="111"/>
                  </a:cubicBezTo>
                  <a:lnTo>
                    <a:pt x="52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black">
            <a:xfrm>
              <a:off x="6337301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3" y="118"/>
                </a:cxn>
                <a:cxn ang="0">
                  <a:pos x="51" y="71"/>
                </a:cxn>
                <a:cxn ang="0">
                  <a:pos x="73" y="25"/>
                </a:cxn>
                <a:cxn ang="0">
                  <a:pos x="94" y="73"/>
                </a:cxn>
                <a:cxn ang="0">
                  <a:pos x="73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3" y="0"/>
                    <a:pt x="73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3" y="118"/>
                  </a:moveTo>
                  <a:cubicBezTo>
                    <a:pt x="57" y="118"/>
                    <a:pt x="51" y="100"/>
                    <a:pt x="51" y="71"/>
                  </a:cubicBezTo>
                  <a:cubicBezTo>
                    <a:pt x="51" y="43"/>
                    <a:pt x="57" y="25"/>
                    <a:pt x="73" y="25"/>
                  </a:cubicBezTo>
                  <a:cubicBezTo>
                    <a:pt x="89" y="25"/>
                    <a:pt x="94" y="44"/>
                    <a:pt x="94" y="73"/>
                  </a:cubicBezTo>
                  <a:cubicBezTo>
                    <a:pt x="94" y="100"/>
                    <a:pt x="89" y="118"/>
                    <a:pt x="73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black">
            <a:xfrm>
              <a:off x="6592888" y="1701801"/>
              <a:ext cx="238125" cy="273050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29" y="177"/>
                </a:cxn>
                <a:cxn ang="0">
                  <a:pos x="29" y="64"/>
                </a:cxn>
                <a:cxn ang="0">
                  <a:pos x="104" y="154"/>
                </a:cxn>
                <a:cxn ang="0">
                  <a:pos x="132" y="177"/>
                </a:cxn>
                <a:cxn ang="0">
                  <a:pos x="154" y="177"/>
                </a:cxn>
                <a:cxn ang="0">
                  <a:pos x="154" y="15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6"/>
                </a:cxn>
                <a:cxn ang="0">
                  <a:pos x="53" y="21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29" y="177"/>
                    <a:pt x="29" y="177"/>
                    <a:pt x="29" y="177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4" y="167"/>
                    <a:pt x="121" y="177"/>
                    <a:pt x="132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6"/>
                    <a:pt x="147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2" y="8"/>
                    <a:pt x="37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 userDrawn="1"/>
          </p:nvSpPr>
          <p:spPr bwMode="black">
            <a:xfrm>
              <a:off x="6861176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2" y="118"/>
                </a:cxn>
                <a:cxn ang="0">
                  <a:pos x="50" y="71"/>
                </a:cxn>
                <a:cxn ang="0">
                  <a:pos x="72" y="25"/>
                </a:cxn>
                <a:cxn ang="0">
                  <a:pos x="93" y="73"/>
                </a:cxn>
                <a:cxn ang="0">
                  <a:pos x="72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2" y="0"/>
                    <a:pt x="72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2" y="118"/>
                  </a:moveTo>
                  <a:cubicBezTo>
                    <a:pt x="56" y="118"/>
                    <a:pt x="50" y="100"/>
                    <a:pt x="50" y="71"/>
                  </a:cubicBezTo>
                  <a:cubicBezTo>
                    <a:pt x="50" y="43"/>
                    <a:pt x="56" y="25"/>
                    <a:pt x="72" y="25"/>
                  </a:cubicBezTo>
                  <a:cubicBezTo>
                    <a:pt x="88" y="25"/>
                    <a:pt x="93" y="45"/>
                    <a:pt x="93" y="73"/>
                  </a:cubicBezTo>
                  <a:cubicBezTo>
                    <a:pt x="93" y="100"/>
                    <a:pt x="88" y="118"/>
                    <a:pt x="72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black">
            <a:xfrm>
              <a:off x="7350126" y="1760538"/>
              <a:ext cx="206375" cy="219075"/>
            </a:xfrm>
            <a:custGeom>
              <a:avLst/>
              <a:gdLst/>
              <a:ahLst/>
              <a:cxnLst>
                <a:cxn ang="0">
                  <a:pos x="134" y="73"/>
                </a:cxn>
                <a:cxn ang="0">
                  <a:pos x="135" y="57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9" y="142"/>
                </a:cxn>
                <a:cxn ang="0">
                  <a:pos x="128" y="99"/>
                </a:cxn>
                <a:cxn ang="0">
                  <a:pos x="89" y="109"/>
                </a:cxn>
                <a:cxn ang="0">
                  <a:pos x="47" y="73"/>
                </a:cxn>
                <a:cxn ang="0">
                  <a:pos x="134" y="73"/>
                </a:cxn>
                <a:cxn ang="0">
                  <a:pos x="47" y="54"/>
                </a:cxn>
                <a:cxn ang="0">
                  <a:pos x="70" y="22"/>
                </a:cxn>
                <a:cxn ang="0">
                  <a:pos x="92" y="54"/>
                </a:cxn>
                <a:cxn ang="0">
                  <a:pos x="47" y="54"/>
                </a:cxn>
              </a:cxnLst>
              <a:rect l="0" t="0" r="r" b="b"/>
              <a:pathLst>
                <a:path w="135" h="142">
                  <a:moveTo>
                    <a:pt x="134" y="73"/>
                  </a:moveTo>
                  <a:cubicBezTo>
                    <a:pt x="135" y="68"/>
                    <a:pt x="135" y="62"/>
                    <a:pt x="135" y="57"/>
                  </a:cubicBezTo>
                  <a:cubicBezTo>
                    <a:pt x="135" y="25"/>
                    <a:pt x="111" y="0"/>
                    <a:pt x="70" y="0"/>
                  </a:cubicBezTo>
                  <a:cubicBezTo>
                    <a:pt x="30" y="0"/>
                    <a:pt x="0" y="28"/>
                    <a:pt x="0" y="71"/>
                  </a:cubicBezTo>
                  <a:cubicBezTo>
                    <a:pt x="0" y="113"/>
                    <a:pt x="26" y="142"/>
                    <a:pt x="69" y="142"/>
                  </a:cubicBezTo>
                  <a:cubicBezTo>
                    <a:pt x="111" y="142"/>
                    <a:pt x="127" y="120"/>
                    <a:pt x="128" y="99"/>
                  </a:cubicBezTo>
                  <a:cubicBezTo>
                    <a:pt x="118" y="105"/>
                    <a:pt x="104" y="109"/>
                    <a:pt x="89" y="109"/>
                  </a:cubicBezTo>
                  <a:cubicBezTo>
                    <a:pt x="65" y="109"/>
                    <a:pt x="50" y="95"/>
                    <a:pt x="47" y="73"/>
                  </a:cubicBezTo>
                  <a:lnTo>
                    <a:pt x="134" y="73"/>
                  </a:lnTo>
                  <a:close/>
                  <a:moveTo>
                    <a:pt x="47" y="54"/>
                  </a:moveTo>
                  <a:cubicBezTo>
                    <a:pt x="49" y="35"/>
                    <a:pt x="57" y="22"/>
                    <a:pt x="70" y="22"/>
                  </a:cubicBezTo>
                  <a:cubicBezTo>
                    <a:pt x="88" y="22"/>
                    <a:pt x="92" y="54"/>
                    <a:pt x="92" y="54"/>
                  </a:cubicBezTo>
                  <a:lnTo>
                    <a:pt x="47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black">
            <a:xfrm>
              <a:off x="7113588" y="1679576"/>
              <a:ext cx="211138" cy="295275"/>
            </a:xfrm>
            <a:custGeom>
              <a:avLst/>
              <a:gdLst/>
              <a:ahLst/>
              <a:cxnLst>
                <a:cxn ang="0">
                  <a:pos x="83" y="53"/>
                </a:cxn>
                <a:cxn ang="0">
                  <a:pos x="47" y="65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55" y="191"/>
                </a:cxn>
                <a:cxn ang="0">
                  <a:pos x="137" y="112"/>
                </a:cxn>
                <a:cxn ang="0">
                  <a:pos x="83" y="53"/>
                </a:cxn>
                <a:cxn ang="0">
                  <a:pos x="54" y="168"/>
                </a:cxn>
                <a:cxn ang="0">
                  <a:pos x="47" y="168"/>
                </a:cxn>
                <a:cxn ang="0">
                  <a:pos x="47" y="80"/>
                </a:cxn>
                <a:cxn ang="0">
                  <a:pos x="57" y="80"/>
                </a:cxn>
                <a:cxn ang="0">
                  <a:pos x="88" y="118"/>
                </a:cxn>
                <a:cxn ang="0">
                  <a:pos x="54" y="168"/>
                </a:cxn>
              </a:cxnLst>
              <a:rect l="0" t="0" r="r" b="b"/>
              <a:pathLst>
                <a:path w="137" h="191">
                  <a:moveTo>
                    <a:pt x="83" y="53"/>
                  </a:moveTo>
                  <a:cubicBezTo>
                    <a:pt x="67" y="53"/>
                    <a:pt x="53" y="59"/>
                    <a:pt x="47" y="65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107" y="191"/>
                    <a:pt x="137" y="163"/>
                    <a:pt x="137" y="112"/>
                  </a:cubicBezTo>
                  <a:cubicBezTo>
                    <a:pt x="137" y="78"/>
                    <a:pt x="113" y="53"/>
                    <a:pt x="83" y="53"/>
                  </a:cubicBezTo>
                  <a:moveTo>
                    <a:pt x="54" y="168"/>
                  </a:moveTo>
                  <a:cubicBezTo>
                    <a:pt x="47" y="168"/>
                    <a:pt x="47" y="168"/>
                    <a:pt x="47" y="168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50" y="80"/>
                    <a:pt x="52" y="80"/>
                    <a:pt x="57" y="80"/>
                  </a:cubicBezTo>
                  <a:cubicBezTo>
                    <a:pt x="75" y="80"/>
                    <a:pt x="88" y="96"/>
                    <a:pt x="88" y="118"/>
                  </a:cubicBezTo>
                  <a:cubicBezTo>
                    <a:pt x="88" y="151"/>
                    <a:pt x="76" y="168"/>
                    <a:pt x="54" y="1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black">
            <a:xfrm>
              <a:off x="7588251" y="1679576"/>
              <a:ext cx="69850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6" y="191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6" h="191">
                  <a:moveTo>
                    <a:pt x="0" y="191"/>
                  </a:moveTo>
                  <a:cubicBezTo>
                    <a:pt x="46" y="191"/>
                    <a:pt x="46" y="191"/>
                    <a:pt x="46" y="191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80961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 userDrawn="1"/>
        </p:nvSpPr>
        <p:spPr bwMode="gray">
          <a:xfrm>
            <a:off x="0" y="0"/>
            <a:ext cx="9144000" cy="144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1" y="1602317"/>
            <a:ext cx="8424000" cy="4606396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6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4" name="Title 73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t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5" name="Slide Number Placeholder 7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6" name="Footer Placeholder 7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Strategy Update 2013</a:t>
            </a:r>
            <a:endParaRPr dirty="0"/>
          </a:p>
        </p:txBody>
      </p:sp>
      <p:grpSp>
        <p:nvGrpSpPr>
          <p:cNvPr id="2" name="Group 94"/>
          <p:cNvGrpSpPr/>
          <p:nvPr userDrawn="1"/>
        </p:nvGrpSpPr>
        <p:grpSpPr bwMode="black">
          <a:xfrm>
            <a:off x="7024688" y="372874"/>
            <a:ext cx="1770062" cy="260547"/>
            <a:chOff x="5619751" y="1679576"/>
            <a:chExt cx="2038350" cy="300038"/>
          </a:xfrm>
          <a:solidFill>
            <a:srgbClr val="FFFFFF"/>
          </a:solidFill>
        </p:grpSpPr>
        <p:sp>
          <p:nvSpPr>
            <p:cNvPr id="19" name="Freeform 7"/>
            <p:cNvSpPr>
              <a:spLocks/>
            </p:cNvSpPr>
            <p:nvPr userDrawn="1"/>
          </p:nvSpPr>
          <p:spPr bwMode="black">
            <a:xfrm>
              <a:off x="6142038" y="1765301"/>
              <a:ext cx="185738" cy="209550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5" y="136"/>
                </a:cxn>
                <a:cxn ang="0">
                  <a:pos x="120" y="120"/>
                </a:cxn>
                <a:cxn ang="0">
                  <a:pos x="120" y="111"/>
                </a:cxn>
                <a:cxn ang="0">
                  <a:pos x="93" y="113"/>
                </a:cxn>
                <a:cxn ang="0">
                  <a:pos x="60" y="113"/>
                </a:cxn>
                <a:cxn ang="0">
                  <a:pos x="118" y="0"/>
                </a:cxn>
                <a:cxn ang="0">
                  <a:pos x="3" y="0"/>
                </a:cxn>
                <a:cxn ang="0">
                  <a:pos x="3" y="22"/>
                </a:cxn>
                <a:cxn ang="0">
                  <a:pos x="55" y="22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20" h="136">
                  <a:moveTo>
                    <a:pt x="2" y="136"/>
                  </a:moveTo>
                  <a:cubicBezTo>
                    <a:pt x="105" y="136"/>
                    <a:pt x="105" y="136"/>
                    <a:pt x="105" y="136"/>
                  </a:cubicBezTo>
                  <a:cubicBezTo>
                    <a:pt x="114" y="136"/>
                    <a:pt x="120" y="129"/>
                    <a:pt x="120" y="120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5" y="112"/>
                    <a:pt x="107" y="113"/>
                    <a:pt x="93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black">
            <a:xfrm>
              <a:off x="5988051" y="1765301"/>
              <a:ext cx="142875" cy="20955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6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5" y="52"/>
                </a:cxn>
                <a:cxn ang="0">
                  <a:pos x="90" y="0"/>
                </a:cxn>
                <a:cxn ang="0">
                  <a:pos x="50" y="0"/>
                </a:cxn>
                <a:cxn ang="0">
                  <a:pos x="0" y="63"/>
                </a:cxn>
              </a:cxnLst>
              <a:rect l="0" t="0" r="r" b="b"/>
              <a:pathLst>
                <a:path w="92" h="136">
                  <a:moveTo>
                    <a:pt x="0" y="63"/>
                  </a:moveTo>
                  <a:cubicBezTo>
                    <a:pt x="26" y="115"/>
                    <a:pt x="26" y="115"/>
                    <a:pt x="26" y="115"/>
                  </a:cubicBezTo>
                  <a:cubicBezTo>
                    <a:pt x="34" y="129"/>
                    <a:pt x="37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89" y="134"/>
                    <a:pt x="87" y="131"/>
                    <a:pt x="84" y="124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black">
            <a:xfrm>
              <a:off x="5911851" y="1679576"/>
              <a:ext cx="71438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7" y="191"/>
                </a:cxn>
                <a:cxn ang="0">
                  <a:pos x="47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7" h="191">
                  <a:moveTo>
                    <a:pt x="0" y="191"/>
                  </a:moveTo>
                  <a:cubicBezTo>
                    <a:pt x="47" y="191"/>
                    <a:pt x="47" y="191"/>
                    <a:pt x="47" y="19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10"/>
            <p:cNvSpPr>
              <a:spLocks noEditPoints="1"/>
            </p:cNvSpPr>
            <p:nvPr userDrawn="1"/>
          </p:nvSpPr>
          <p:spPr bwMode="black">
            <a:xfrm>
              <a:off x="5619751" y="1703388"/>
              <a:ext cx="268288" cy="271463"/>
            </a:xfrm>
            <a:custGeom>
              <a:avLst/>
              <a:gdLst/>
              <a:ahLst/>
              <a:cxnLst>
                <a:cxn ang="0">
                  <a:pos x="169" y="163"/>
                </a:cxn>
                <a:cxn ang="0">
                  <a:pos x="122" y="24"/>
                </a:cxn>
                <a:cxn ang="0">
                  <a:pos x="88" y="0"/>
                </a:cxn>
                <a:cxn ang="0">
                  <a:pos x="66" y="0"/>
                </a:cxn>
                <a:cxn ang="0">
                  <a:pos x="0" y="176"/>
                </a:cxn>
                <a:cxn ang="0">
                  <a:pos x="30" y="176"/>
                </a:cxn>
                <a:cxn ang="0">
                  <a:pos x="45" y="132"/>
                </a:cxn>
                <a:cxn ang="0">
                  <a:pos x="108" y="132"/>
                </a:cxn>
                <a:cxn ang="0">
                  <a:pos x="117" y="160"/>
                </a:cxn>
                <a:cxn ang="0">
                  <a:pos x="135" y="175"/>
                </a:cxn>
                <a:cxn ang="0">
                  <a:pos x="175" y="175"/>
                </a:cxn>
                <a:cxn ang="0">
                  <a:pos x="169" y="163"/>
                </a:cxn>
                <a:cxn ang="0">
                  <a:pos x="52" y="111"/>
                </a:cxn>
                <a:cxn ang="0">
                  <a:pos x="77" y="37"/>
                </a:cxn>
                <a:cxn ang="0">
                  <a:pos x="101" y="111"/>
                </a:cxn>
                <a:cxn ang="0">
                  <a:pos x="52" y="111"/>
                </a:cxn>
              </a:cxnLst>
              <a:rect l="0" t="0" r="r" b="b"/>
              <a:pathLst>
                <a:path w="175" h="176">
                  <a:moveTo>
                    <a:pt x="169" y="163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7" y="7"/>
                    <a:pt x="111" y="0"/>
                    <a:pt x="8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0" y="171"/>
                    <a:pt x="124" y="175"/>
                    <a:pt x="135" y="175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3" y="174"/>
                    <a:pt x="172" y="170"/>
                    <a:pt x="169" y="163"/>
                  </a:cubicBezTo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1" y="111"/>
                    <a:pt x="101" y="111"/>
                    <a:pt x="101" y="111"/>
                  </a:cubicBezTo>
                  <a:lnTo>
                    <a:pt x="52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black">
            <a:xfrm>
              <a:off x="6337301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3" y="118"/>
                </a:cxn>
                <a:cxn ang="0">
                  <a:pos x="51" y="71"/>
                </a:cxn>
                <a:cxn ang="0">
                  <a:pos x="73" y="25"/>
                </a:cxn>
                <a:cxn ang="0">
                  <a:pos x="94" y="73"/>
                </a:cxn>
                <a:cxn ang="0">
                  <a:pos x="73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3" y="0"/>
                    <a:pt x="73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3" y="118"/>
                  </a:moveTo>
                  <a:cubicBezTo>
                    <a:pt x="57" y="118"/>
                    <a:pt x="51" y="100"/>
                    <a:pt x="51" y="71"/>
                  </a:cubicBezTo>
                  <a:cubicBezTo>
                    <a:pt x="51" y="43"/>
                    <a:pt x="57" y="25"/>
                    <a:pt x="73" y="25"/>
                  </a:cubicBezTo>
                  <a:cubicBezTo>
                    <a:pt x="89" y="25"/>
                    <a:pt x="94" y="44"/>
                    <a:pt x="94" y="73"/>
                  </a:cubicBezTo>
                  <a:cubicBezTo>
                    <a:pt x="94" y="100"/>
                    <a:pt x="89" y="118"/>
                    <a:pt x="73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black">
            <a:xfrm>
              <a:off x="6592888" y="1701801"/>
              <a:ext cx="238125" cy="273050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29" y="177"/>
                </a:cxn>
                <a:cxn ang="0">
                  <a:pos x="29" y="64"/>
                </a:cxn>
                <a:cxn ang="0">
                  <a:pos x="104" y="154"/>
                </a:cxn>
                <a:cxn ang="0">
                  <a:pos x="132" y="177"/>
                </a:cxn>
                <a:cxn ang="0">
                  <a:pos x="154" y="177"/>
                </a:cxn>
                <a:cxn ang="0">
                  <a:pos x="154" y="15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6"/>
                </a:cxn>
                <a:cxn ang="0">
                  <a:pos x="53" y="21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29" y="177"/>
                    <a:pt x="29" y="177"/>
                    <a:pt x="29" y="177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4" y="167"/>
                    <a:pt x="121" y="177"/>
                    <a:pt x="132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6"/>
                    <a:pt x="147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2" y="8"/>
                    <a:pt x="37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 userDrawn="1"/>
          </p:nvSpPr>
          <p:spPr bwMode="black">
            <a:xfrm>
              <a:off x="6861176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2" y="118"/>
                </a:cxn>
                <a:cxn ang="0">
                  <a:pos x="50" y="71"/>
                </a:cxn>
                <a:cxn ang="0">
                  <a:pos x="72" y="25"/>
                </a:cxn>
                <a:cxn ang="0">
                  <a:pos x="93" y="73"/>
                </a:cxn>
                <a:cxn ang="0">
                  <a:pos x="72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2" y="0"/>
                    <a:pt x="72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2" y="118"/>
                  </a:moveTo>
                  <a:cubicBezTo>
                    <a:pt x="56" y="118"/>
                    <a:pt x="50" y="100"/>
                    <a:pt x="50" y="71"/>
                  </a:cubicBezTo>
                  <a:cubicBezTo>
                    <a:pt x="50" y="43"/>
                    <a:pt x="56" y="25"/>
                    <a:pt x="72" y="25"/>
                  </a:cubicBezTo>
                  <a:cubicBezTo>
                    <a:pt x="88" y="25"/>
                    <a:pt x="93" y="45"/>
                    <a:pt x="93" y="73"/>
                  </a:cubicBezTo>
                  <a:cubicBezTo>
                    <a:pt x="93" y="100"/>
                    <a:pt x="88" y="118"/>
                    <a:pt x="72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black">
            <a:xfrm>
              <a:off x="7350126" y="1760538"/>
              <a:ext cx="206375" cy="219075"/>
            </a:xfrm>
            <a:custGeom>
              <a:avLst/>
              <a:gdLst/>
              <a:ahLst/>
              <a:cxnLst>
                <a:cxn ang="0">
                  <a:pos x="134" y="73"/>
                </a:cxn>
                <a:cxn ang="0">
                  <a:pos x="135" y="57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9" y="142"/>
                </a:cxn>
                <a:cxn ang="0">
                  <a:pos x="128" y="99"/>
                </a:cxn>
                <a:cxn ang="0">
                  <a:pos x="89" y="109"/>
                </a:cxn>
                <a:cxn ang="0">
                  <a:pos x="47" y="73"/>
                </a:cxn>
                <a:cxn ang="0">
                  <a:pos x="134" y="73"/>
                </a:cxn>
                <a:cxn ang="0">
                  <a:pos x="47" y="54"/>
                </a:cxn>
                <a:cxn ang="0">
                  <a:pos x="70" y="22"/>
                </a:cxn>
                <a:cxn ang="0">
                  <a:pos x="92" y="54"/>
                </a:cxn>
                <a:cxn ang="0">
                  <a:pos x="47" y="54"/>
                </a:cxn>
              </a:cxnLst>
              <a:rect l="0" t="0" r="r" b="b"/>
              <a:pathLst>
                <a:path w="135" h="142">
                  <a:moveTo>
                    <a:pt x="134" y="73"/>
                  </a:moveTo>
                  <a:cubicBezTo>
                    <a:pt x="135" y="68"/>
                    <a:pt x="135" y="62"/>
                    <a:pt x="135" y="57"/>
                  </a:cubicBezTo>
                  <a:cubicBezTo>
                    <a:pt x="135" y="25"/>
                    <a:pt x="111" y="0"/>
                    <a:pt x="70" y="0"/>
                  </a:cubicBezTo>
                  <a:cubicBezTo>
                    <a:pt x="30" y="0"/>
                    <a:pt x="0" y="28"/>
                    <a:pt x="0" y="71"/>
                  </a:cubicBezTo>
                  <a:cubicBezTo>
                    <a:pt x="0" y="113"/>
                    <a:pt x="26" y="142"/>
                    <a:pt x="69" y="142"/>
                  </a:cubicBezTo>
                  <a:cubicBezTo>
                    <a:pt x="111" y="142"/>
                    <a:pt x="127" y="120"/>
                    <a:pt x="128" y="99"/>
                  </a:cubicBezTo>
                  <a:cubicBezTo>
                    <a:pt x="118" y="105"/>
                    <a:pt x="104" y="109"/>
                    <a:pt x="89" y="109"/>
                  </a:cubicBezTo>
                  <a:cubicBezTo>
                    <a:pt x="65" y="109"/>
                    <a:pt x="50" y="95"/>
                    <a:pt x="47" y="73"/>
                  </a:cubicBezTo>
                  <a:lnTo>
                    <a:pt x="134" y="73"/>
                  </a:lnTo>
                  <a:close/>
                  <a:moveTo>
                    <a:pt x="47" y="54"/>
                  </a:moveTo>
                  <a:cubicBezTo>
                    <a:pt x="49" y="35"/>
                    <a:pt x="57" y="22"/>
                    <a:pt x="70" y="22"/>
                  </a:cubicBezTo>
                  <a:cubicBezTo>
                    <a:pt x="88" y="22"/>
                    <a:pt x="92" y="54"/>
                    <a:pt x="92" y="54"/>
                  </a:cubicBezTo>
                  <a:lnTo>
                    <a:pt x="47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black">
            <a:xfrm>
              <a:off x="7113588" y="1679576"/>
              <a:ext cx="211138" cy="295275"/>
            </a:xfrm>
            <a:custGeom>
              <a:avLst/>
              <a:gdLst/>
              <a:ahLst/>
              <a:cxnLst>
                <a:cxn ang="0">
                  <a:pos x="83" y="53"/>
                </a:cxn>
                <a:cxn ang="0">
                  <a:pos x="47" y="65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55" y="191"/>
                </a:cxn>
                <a:cxn ang="0">
                  <a:pos x="137" y="112"/>
                </a:cxn>
                <a:cxn ang="0">
                  <a:pos x="83" y="53"/>
                </a:cxn>
                <a:cxn ang="0">
                  <a:pos x="54" y="168"/>
                </a:cxn>
                <a:cxn ang="0">
                  <a:pos x="47" y="168"/>
                </a:cxn>
                <a:cxn ang="0">
                  <a:pos x="47" y="80"/>
                </a:cxn>
                <a:cxn ang="0">
                  <a:pos x="57" y="80"/>
                </a:cxn>
                <a:cxn ang="0">
                  <a:pos x="88" y="118"/>
                </a:cxn>
                <a:cxn ang="0">
                  <a:pos x="54" y="168"/>
                </a:cxn>
              </a:cxnLst>
              <a:rect l="0" t="0" r="r" b="b"/>
              <a:pathLst>
                <a:path w="137" h="191">
                  <a:moveTo>
                    <a:pt x="83" y="53"/>
                  </a:moveTo>
                  <a:cubicBezTo>
                    <a:pt x="67" y="53"/>
                    <a:pt x="53" y="59"/>
                    <a:pt x="47" y="65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107" y="191"/>
                    <a:pt x="137" y="163"/>
                    <a:pt x="137" y="112"/>
                  </a:cubicBezTo>
                  <a:cubicBezTo>
                    <a:pt x="137" y="78"/>
                    <a:pt x="113" y="53"/>
                    <a:pt x="83" y="53"/>
                  </a:cubicBezTo>
                  <a:moveTo>
                    <a:pt x="54" y="168"/>
                  </a:moveTo>
                  <a:cubicBezTo>
                    <a:pt x="47" y="168"/>
                    <a:pt x="47" y="168"/>
                    <a:pt x="47" y="168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50" y="80"/>
                    <a:pt x="52" y="80"/>
                    <a:pt x="57" y="80"/>
                  </a:cubicBezTo>
                  <a:cubicBezTo>
                    <a:pt x="75" y="80"/>
                    <a:pt x="88" y="96"/>
                    <a:pt x="88" y="118"/>
                  </a:cubicBezTo>
                  <a:cubicBezTo>
                    <a:pt x="88" y="151"/>
                    <a:pt x="76" y="168"/>
                    <a:pt x="54" y="1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black">
            <a:xfrm>
              <a:off x="7588251" y="1679576"/>
              <a:ext cx="69850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6" y="191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6" h="191">
                  <a:moveTo>
                    <a:pt x="0" y="191"/>
                  </a:moveTo>
                  <a:cubicBezTo>
                    <a:pt x="46" y="191"/>
                    <a:pt x="46" y="191"/>
                    <a:pt x="46" y="191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07289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 userDrawn="1"/>
        </p:nvSpPr>
        <p:spPr bwMode="gray">
          <a:xfrm>
            <a:off x="0" y="0"/>
            <a:ext cx="9144000" cy="1447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1" y="1602317"/>
            <a:ext cx="8424000" cy="4606396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6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Strategy Update 2013</a:t>
            </a:r>
            <a:endParaRPr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t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" name="Group 94"/>
          <p:cNvGrpSpPr/>
          <p:nvPr userDrawn="1"/>
        </p:nvGrpSpPr>
        <p:grpSpPr bwMode="black">
          <a:xfrm>
            <a:off x="7024688" y="372874"/>
            <a:ext cx="1770062" cy="260547"/>
            <a:chOff x="5619751" y="1679576"/>
            <a:chExt cx="2038350" cy="300038"/>
          </a:xfrm>
          <a:solidFill>
            <a:srgbClr val="FFFFFF"/>
          </a:solidFill>
        </p:grpSpPr>
        <p:sp>
          <p:nvSpPr>
            <p:cNvPr id="19" name="Freeform 7"/>
            <p:cNvSpPr>
              <a:spLocks/>
            </p:cNvSpPr>
            <p:nvPr userDrawn="1"/>
          </p:nvSpPr>
          <p:spPr bwMode="black">
            <a:xfrm>
              <a:off x="6142038" y="1765301"/>
              <a:ext cx="185738" cy="209550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5" y="136"/>
                </a:cxn>
                <a:cxn ang="0">
                  <a:pos x="120" y="120"/>
                </a:cxn>
                <a:cxn ang="0">
                  <a:pos x="120" y="111"/>
                </a:cxn>
                <a:cxn ang="0">
                  <a:pos x="93" y="113"/>
                </a:cxn>
                <a:cxn ang="0">
                  <a:pos x="60" y="113"/>
                </a:cxn>
                <a:cxn ang="0">
                  <a:pos x="118" y="0"/>
                </a:cxn>
                <a:cxn ang="0">
                  <a:pos x="3" y="0"/>
                </a:cxn>
                <a:cxn ang="0">
                  <a:pos x="3" y="22"/>
                </a:cxn>
                <a:cxn ang="0">
                  <a:pos x="55" y="22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20" h="136">
                  <a:moveTo>
                    <a:pt x="2" y="136"/>
                  </a:moveTo>
                  <a:cubicBezTo>
                    <a:pt x="105" y="136"/>
                    <a:pt x="105" y="136"/>
                    <a:pt x="105" y="136"/>
                  </a:cubicBezTo>
                  <a:cubicBezTo>
                    <a:pt x="114" y="136"/>
                    <a:pt x="120" y="129"/>
                    <a:pt x="120" y="120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5" y="112"/>
                    <a:pt x="107" y="113"/>
                    <a:pt x="93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black">
            <a:xfrm>
              <a:off x="5988051" y="1765301"/>
              <a:ext cx="142875" cy="20955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6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5" y="52"/>
                </a:cxn>
                <a:cxn ang="0">
                  <a:pos x="90" y="0"/>
                </a:cxn>
                <a:cxn ang="0">
                  <a:pos x="50" y="0"/>
                </a:cxn>
                <a:cxn ang="0">
                  <a:pos x="0" y="63"/>
                </a:cxn>
              </a:cxnLst>
              <a:rect l="0" t="0" r="r" b="b"/>
              <a:pathLst>
                <a:path w="92" h="136">
                  <a:moveTo>
                    <a:pt x="0" y="63"/>
                  </a:moveTo>
                  <a:cubicBezTo>
                    <a:pt x="26" y="115"/>
                    <a:pt x="26" y="115"/>
                    <a:pt x="26" y="115"/>
                  </a:cubicBezTo>
                  <a:cubicBezTo>
                    <a:pt x="34" y="129"/>
                    <a:pt x="37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89" y="134"/>
                    <a:pt x="87" y="131"/>
                    <a:pt x="84" y="124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black">
            <a:xfrm>
              <a:off x="5911851" y="1679576"/>
              <a:ext cx="71438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7" y="191"/>
                </a:cxn>
                <a:cxn ang="0">
                  <a:pos x="47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7" h="191">
                  <a:moveTo>
                    <a:pt x="0" y="191"/>
                  </a:moveTo>
                  <a:cubicBezTo>
                    <a:pt x="47" y="191"/>
                    <a:pt x="47" y="191"/>
                    <a:pt x="47" y="19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10"/>
            <p:cNvSpPr>
              <a:spLocks noEditPoints="1"/>
            </p:cNvSpPr>
            <p:nvPr userDrawn="1"/>
          </p:nvSpPr>
          <p:spPr bwMode="black">
            <a:xfrm>
              <a:off x="5619751" y="1703388"/>
              <a:ext cx="268288" cy="271463"/>
            </a:xfrm>
            <a:custGeom>
              <a:avLst/>
              <a:gdLst/>
              <a:ahLst/>
              <a:cxnLst>
                <a:cxn ang="0">
                  <a:pos x="169" y="163"/>
                </a:cxn>
                <a:cxn ang="0">
                  <a:pos x="122" y="24"/>
                </a:cxn>
                <a:cxn ang="0">
                  <a:pos x="88" y="0"/>
                </a:cxn>
                <a:cxn ang="0">
                  <a:pos x="66" y="0"/>
                </a:cxn>
                <a:cxn ang="0">
                  <a:pos x="0" y="176"/>
                </a:cxn>
                <a:cxn ang="0">
                  <a:pos x="30" y="176"/>
                </a:cxn>
                <a:cxn ang="0">
                  <a:pos x="45" y="132"/>
                </a:cxn>
                <a:cxn ang="0">
                  <a:pos x="108" y="132"/>
                </a:cxn>
                <a:cxn ang="0">
                  <a:pos x="117" y="160"/>
                </a:cxn>
                <a:cxn ang="0">
                  <a:pos x="135" y="175"/>
                </a:cxn>
                <a:cxn ang="0">
                  <a:pos x="175" y="175"/>
                </a:cxn>
                <a:cxn ang="0">
                  <a:pos x="169" y="163"/>
                </a:cxn>
                <a:cxn ang="0">
                  <a:pos x="52" y="111"/>
                </a:cxn>
                <a:cxn ang="0">
                  <a:pos x="77" y="37"/>
                </a:cxn>
                <a:cxn ang="0">
                  <a:pos x="101" y="111"/>
                </a:cxn>
                <a:cxn ang="0">
                  <a:pos x="52" y="111"/>
                </a:cxn>
              </a:cxnLst>
              <a:rect l="0" t="0" r="r" b="b"/>
              <a:pathLst>
                <a:path w="175" h="176">
                  <a:moveTo>
                    <a:pt x="169" y="163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7" y="7"/>
                    <a:pt x="111" y="0"/>
                    <a:pt x="8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0" y="171"/>
                    <a:pt x="124" y="175"/>
                    <a:pt x="135" y="175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3" y="174"/>
                    <a:pt x="172" y="170"/>
                    <a:pt x="169" y="163"/>
                  </a:cubicBezTo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1" y="111"/>
                    <a:pt x="101" y="111"/>
                    <a:pt x="101" y="111"/>
                  </a:cubicBezTo>
                  <a:lnTo>
                    <a:pt x="52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black">
            <a:xfrm>
              <a:off x="6337301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3" y="118"/>
                </a:cxn>
                <a:cxn ang="0">
                  <a:pos x="51" y="71"/>
                </a:cxn>
                <a:cxn ang="0">
                  <a:pos x="73" y="25"/>
                </a:cxn>
                <a:cxn ang="0">
                  <a:pos x="94" y="73"/>
                </a:cxn>
                <a:cxn ang="0">
                  <a:pos x="73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3" y="0"/>
                    <a:pt x="73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3" y="118"/>
                  </a:moveTo>
                  <a:cubicBezTo>
                    <a:pt x="57" y="118"/>
                    <a:pt x="51" y="100"/>
                    <a:pt x="51" y="71"/>
                  </a:cubicBezTo>
                  <a:cubicBezTo>
                    <a:pt x="51" y="43"/>
                    <a:pt x="57" y="25"/>
                    <a:pt x="73" y="25"/>
                  </a:cubicBezTo>
                  <a:cubicBezTo>
                    <a:pt x="89" y="25"/>
                    <a:pt x="94" y="44"/>
                    <a:pt x="94" y="73"/>
                  </a:cubicBezTo>
                  <a:cubicBezTo>
                    <a:pt x="94" y="100"/>
                    <a:pt x="89" y="118"/>
                    <a:pt x="73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black">
            <a:xfrm>
              <a:off x="6592888" y="1701801"/>
              <a:ext cx="238125" cy="273050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29" y="177"/>
                </a:cxn>
                <a:cxn ang="0">
                  <a:pos x="29" y="64"/>
                </a:cxn>
                <a:cxn ang="0">
                  <a:pos x="104" y="154"/>
                </a:cxn>
                <a:cxn ang="0">
                  <a:pos x="132" y="177"/>
                </a:cxn>
                <a:cxn ang="0">
                  <a:pos x="154" y="177"/>
                </a:cxn>
                <a:cxn ang="0">
                  <a:pos x="154" y="15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6"/>
                </a:cxn>
                <a:cxn ang="0">
                  <a:pos x="53" y="21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29" y="177"/>
                    <a:pt x="29" y="177"/>
                    <a:pt x="29" y="177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4" y="167"/>
                    <a:pt x="121" y="177"/>
                    <a:pt x="132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6"/>
                    <a:pt x="147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2" y="8"/>
                    <a:pt x="37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 userDrawn="1"/>
          </p:nvSpPr>
          <p:spPr bwMode="black">
            <a:xfrm>
              <a:off x="6861176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2" y="118"/>
                </a:cxn>
                <a:cxn ang="0">
                  <a:pos x="50" y="71"/>
                </a:cxn>
                <a:cxn ang="0">
                  <a:pos x="72" y="25"/>
                </a:cxn>
                <a:cxn ang="0">
                  <a:pos x="93" y="73"/>
                </a:cxn>
                <a:cxn ang="0">
                  <a:pos x="72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2" y="0"/>
                    <a:pt x="72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2" y="118"/>
                  </a:moveTo>
                  <a:cubicBezTo>
                    <a:pt x="56" y="118"/>
                    <a:pt x="50" y="100"/>
                    <a:pt x="50" y="71"/>
                  </a:cubicBezTo>
                  <a:cubicBezTo>
                    <a:pt x="50" y="43"/>
                    <a:pt x="56" y="25"/>
                    <a:pt x="72" y="25"/>
                  </a:cubicBezTo>
                  <a:cubicBezTo>
                    <a:pt x="88" y="25"/>
                    <a:pt x="93" y="45"/>
                    <a:pt x="93" y="73"/>
                  </a:cubicBezTo>
                  <a:cubicBezTo>
                    <a:pt x="93" y="100"/>
                    <a:pt x="88" y="118"/>
                    <a:pt x="72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black">
            <a:xfrm>
              <a:off x="7350126" y="1760538"/>
              <a:ext cx="206375" cy="219075"/>
            </a:xfrm>
            <a:custGeom>
              <a:avLst/>
              <a:gdLst/>
              <a:ahLst/>
              <a:cxnLst>
                <a:cxn ang="0">
                  <a:pos x="134" y="73"/>
                </a:cxn>
                <a:cxn ang="0">
                  <a:pos x="135" y="57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9" y="142"/>
                </a:cxn>
                <a:cxn ang="0">
                  <a:pos x="128" y="99"/>
                </a:cxn>
                <a:cxn ang="0">
                  <a:pos x="89" y="109"/>
                </a:cxn>
                <a:cxn ang="0">
                  <a:pos x="47" y="73"/>
                </a:cxn>
                <a:cxn ang="0">
                  <a:pos x="134" y="73"/>
                </a:cxn>
                <a:cxn ang="0">
                  <a:pos x="47" y="54"/>
                </a:cxn>
                <a:cxn ang="0">
                  <a:pos x="70" y="22"/>
                </a:cxn>
                <a:cxn ang="0">
                  <a:pos x="92" y="54"/>
                </a:cxn>
                <a:cxn ang="0">
                  <a:pos x="47" y="54"/>
                </a:cxn>
              </a:cxnLst>
              <a:rect l="0" t="0" r="r" b="b"/>
              <a:pathLst>
                <a:path w="135" h="142">
                  <a:moveTo>
                    <a:pt x="134" y="73"/>
                  </a:moveTo>
                  <a:cubicBezTo>
                    <a:pt x="135" y="68"/>
                    <a:pt x="135" y="62"/>
                    <a:pt x="135" y="57"/>
                  </a:cubicBezTo>
                  <a:cubicBezTo>
                    <a:pt x="135" y="25"/>
                    <a:pt x="111" y="0"/>
                    <a:pt x="70" y="0"/>
                  </a:cubicBezTo>
                  <a:cubicBezTo>
                    <a:pt x="30" y="0"/>
                    <a:pt x="0" y="28"/>
                    <a:pt x="0" y="71"/>
                  </a:cubicBezTo>
                  <a:cubicBezTo>
                    <a:pt x="0" y="113"/>
                    <a:pt x="26" y="142"/>
                    <a:pt x="69" y="142"/>
                  </a:cubicBezTo>
                  <a:cubicBezTo>
                    <a:pt x="111" y="142"/>
                    <a:pt x="127" y="120"/>
                    <a:pt x="128" y="99"/>
                  </a:cubicBezTo>
                  <a:cubicBezTo>
                    <a:pt x="118" y="105"/>
                    <a:pt x="104" y="109"/>
                    <a:pt x="89" y="109"/>
                  </a:cubicBezTo>
                  <a:cubicBezTo>
                    <a:pt x="65" y="109"/>
                    <a:pt x="50" y="95"/>
                    <a:pt x="47" y="73"/>
                  </a:cubicBezTo>
                  <a:lnTo>
                    <a:pt x="134" y="73"/>
                  </a:lnTo>
                  <a:close/>
                  <a:moveTo>
                    <a:pt x="47" y="54"/>
                  </a:moveTo>
                  <a:cubicBezTo>
                    <a:pt x="49" y="35"/>
                    <a:pt x="57" y="22"/>
                    <a:pt x="70" y="22"/>
                  </a:cubicBezTo>
                  <a:cubicBezTo>
                    <a:pt x="88" y="22"/>
                    <a:pt x="92" y="54"/>
                    <a:pt x="92" y="54"/>
                  </a:cubicBezTo>
                  <a:lnTo>
                    <a:pt x="47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black">
            <a:xfrm>
              <a:off x="7113588" y="1679576"/>
              <a:ext cx="211138" cy="295275"/>
            </a:xfrm>
            <a:custGeom>
              <a:avLst/>
              <a:gdLst/>
              <a:ahLst/>
              <a:cxnLst>
                <a:cxn ang="0">
                  <a:pos x="83" y="53"/>
                </a:cxn>
                <a:cxn ang="0">
                  <a:pos x="47" y="65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55" y="191"/>
                </a:cxn>
                <a:cxn ang="0">
                  <a:pos x="137" y="112"/>
                </a:cxn>
                <a:cxn ang="0">
                  <a:pos x="83" y="53"/>
                </a:cxn>
                <a:cxn ang="0">
                  <a:pos x="54" y="168"/>
                </a:cxn>
                <a:cxn ang="0">
                  <a:pos x="47" y="168"/>
                </a:cxn>
                <a:cxn ang="0">
                  <a:pos x="47" y="80"/>
                </a:cxn>
                <a:cxn ang="0">
                  <a:pos x="57" y="80"/>
                </a:cxn>
                <a:cxn ang="0">
                  <a:pos x="88" y="118"/>
                </a:cxn>
                <a:cxn ang="0">
                  <a:pos x="54" y="168"/>
                </a:cxn>
              </a:cxnLst>
              <a:rect l="0" t="0" r="r" b="b"/>
              <a:pathLst>
                <a:path w="137" h="191">
                  <a:moveTo>
                    <a:pt x="83" y="53"/>
                  </a:moveTo>
                  <a:cubicBezTo>
                    <a:pt x="67" y="53"/>
                    <a:pt x="53" y="59"/>
                    <a:pt x="47" y="65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107" y="191"/>
                    <a:pt x="137" y="163"/>
                    <a:pt x="137" y="112"/>
                  </a:cubicBezTo>
                  <a:cubicBezTo>
                    <a:pt x="137" y="78"/>
                    <a:pt x="113" y="53"/>
                    <a:pt x="83" y="53"/>
                  </a:cubicBezTo>
                  <a:moveTo>
                    <a:pt x="54" y="168"/>
                  </a:moveTo>
                  <a:cubicBezTo>
                    <a:pt x="47" y="168"/>
                    <a:pt x="47" y="168"/>
                    <a:pt x="47" y="168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50" y="80"/>
                    <a:pt x="52" y="80"/>
                    <a:pt x="57" y="80"/>
                  </a:cubicBezTo>
                  <a:cubicBezTo>
                    <a:pt x="75" y="80"/>
                    <a:pt x="88" y="96"/>
                    <a:pt x="88" y="118"/>
                  </a:cubicBezTo>
                  <a:cubicBezTo>
                    <a:pt x="88" y="151"/>
                    <a:pt x="76" y="168"/>
                    <a:pt x="54" y="1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black">
            <a:xfrm>
              <a:off x="7588251" y="1679576"/>
              <a:ext cx="69850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6" y="191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6" h="191">
                  <a:moveTo>
                    <a:pt x="0" y="191"/>
                  </a:moveTo>
                  <a:cubicBezTo>
                    <a:pt x="46" y="191"/>
                    <a:pt x="46" y="191"/>
                    <a:pt x="46" y="191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216096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Gra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 userDrawn="1"/>
        </p:nvSpPr>
        <p:spPr bwMode="gray">
          <a:xfrm>
            <a:off x="0" y="0"/>
            <a:ext cx="9144000" cy="1447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1" y="1600148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6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Strategy Update 2013</a:t>
            </a:r>
            <a:endParaRPr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t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" name="Group 94"/>
          <p:cNvGrpSpPr/>
          <p:nvPr userDrawn="1"/>
        </p:nvGrpSpPr>
        <p:grpSpPr bwMode="black">
          <a:xfrm>
            <a:off x="7024688" y="372874"/>
            <a:ext cx="1770062" cy="260547"/>
            <a:chOff x="5619751" y="1679576"/>
            <a:chExt cx="2038350" cy="300038"/>
          </a:xfrm>
          <a:solidFill>
            <a:srgbClr val="FFFFFF"/>
          </a:solidFill>
        </p:grpSpPr>
        <p:sp>
          <p:nvSpPr>
            <p:cNvPr id="19" name="Freeform 7"/>
            <p:cNvSpPr>
              <a:spLocks/>
            </p:cNvSpPr>
            <p:nvPr userDrawn="1"/>
          </p:nvSpPr>
          <p:spPr bwMode="black">
            <a:xfrm>
              <a:off x="6142038" y="1765301"/>
              <a:ext cx="185738" cy="209550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5" y="136"/>
                </a:cxn>
                <a:cxn ang="0">
                  <a:pos x="120" y="120"/>
                </a:cxn>
                <a:cxn ang="0">
                  <a:pos x="120" y="111"/>
                </a:cxn>
                <a:cxn ang="0">
                  <a:pos x="93" y="113"/>
                </a:cxn>
                <a:cxn ang="0">
                  <a:pos x="60" y="113"/>
                </a:cxn>
                <a:cxn ang="0">
                  <a:pos x="118" y="0"/>
                </a:cxn>
                <a:cxn ang="0">
                  <a:pos x="3" y="0"/>
                </a:cxn>
                <a:cxn ang="0">
                  <a:pos x="3" y="22"/>
                </a:cxn>
                <a:cxn ang="0">
                  <a:pos x="55" y="22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20" h="136">
                  <a:moveTo>
                    <a:pt x="2" y="136"/>
                  </a:moveTo>
                  <a:cubicBezTo>
                    <a:pt x="105" y="136"/>
                    <a:pt x="105" y="136"/>
                    <a:pt x="105" y="136"/>
                  </a:cubicBezTo>
                  <a:cubicBezTo>
                    <a:pt x="114" y="136"/>
                    <a:pt x="120" y="129"/>
                    <a:pt x="120" y="120"/>
                  </a:cubicBezTo>
                  <a:cubicBezTo>
                    <a:pt x="120" y="111"/>
                    <a:pt x="120" y="111"/>
                    <a:pt x="120" y="111"/>
                  </a:cubicBezTo>
                  <a:cubicBezTo>
                    <a:pt x="115" y="112"/>
                    <a:pt x="107" y="113"/>
                    <a:pt x="93" y="11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black">
            <a:xfrm>
              <a:off x="5988051" y="1765301"/>
              <a:ext cx="142875" cy="20955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6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5" y="52"/>
                </a:cxn>
                <a:cxn ang="0">
                  <a:pos x="90" y="0"/>
                </a:cxn>
                <a:cxn ang="0">
                  <a:pos x="50" y="0"/>
                </a:cxn>
                <a:cxn ang="0">
                  <a:pos x="0" y="63"/>
                </a:cxn>
              </a:cxnLst>
              <a:rect l="0" t="0" r="r" b="b"/>
              <a:pathLst>
                <a:path w="92" h="136">
                  <a:moveTo>
                    <a:pt x="0" y="63"/>
                  </a:moveTo>
                  <a:cubicBezTo>
                    <a:pt x="26" y="115"/>
                    <a:pt x="26" y="115"/>
                    <a:pt x="26" y="115"/>
                  </a:cubicBezTo>
                  <a:cubicBezTo>
                    <a:pt x="34" y="129"/>
                    <a:pt x="37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89" y="134"/>
                    <a:pt x="87" y="131"/>
                    <a:pt x="84" y="124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black">
            <a:xfrm>
              <a:off x="5911851" y="1679576"/>
              <a:ext cx="71438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7" y="191"/>
                </a:cxn>
                <a:cxn ang="0">
                  <a:pos x="47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7" h="191">
                  <a:moveTo>
                    <a:pt x="0" y="191"/>
                  </a:moveTo>
                  <a:cubicBezTo>
                    <a:pt x="47" y="191"/>
                    <a:pt x="47" y="191"/>
                    <a:pt x="47" y="19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10"/>
            <p:cNvSpPr>
              <a:spLocks noEditPoints="1"/>
            </p:cNvSpPr>
            <p:nvPr userDrawn="1"/>
          </p:nvSpPr>
          <p:spPr bwMode="black">
            <a:xfrm>
              <a:off x="5619751" y="1703388"/>
              <a:ext cx="268288" cy="271463"/>
            </a:xfrm>
            <a:custGeom>
              <a:avLst/>
              <a:gdLst/>
              <a:ahLst/>
              <a:cxnLst>
                <a:cxn ang="0">
                  <a:pos x="169" y="163"/>
                </a:cxn>
                <a:cxn ang="0">
                  <a:pos x="122" y="24"/>
                </a:cxn>
                <a:cxn ang="0">
                  <a:pos x="88" y="0"/>
                </a:cxn>
                <a:cxn ang="0">
                  <a:pos x="66" y="0"/>
                </a:cxn>
                <a:cxn ang="0">
                  <a:pos x="0" y="176"/>
                </a:cxn>
                <a:cxn ang="0">
                  <a:pos x="30" y="176"/>
                </a:cxn>
                <a:cxn ang="0">
                  <a:pos x="45" y="132"/>
                </a:cxn>
                <a:cxn ang="0">
                  <a:pos x="108" y="132"/>
                </a:cxn>
                <a:cxn ang="0">
                  <a:pos x="117" y="160"/>
                </a:cxn>
                <a:cxn ang="0">
                  <a:pos x="135" y="175"/>
                </a:cxn>
                <a:cxn ang="0">
                  <a:pos x="175" y="175"/>
                </a:cxn>
                <a:cxn ang="0">
                  <a:pos x="169" y="163"/>
                </a:cxn>
                <a:cxn ang="0">
                  <a:pos x="52" y="111"/>
                </a:cxn>
                <a:cxn ang="0">
                  <a:pos x="77" y="37"/>
                </a:cxn>
                <a:cxn ang="0">
                  <a:pos x="101" y="111"/>
                </a:cxn>
                <a:cxn ang="0">
                  <a:pos x="52" y="111"/>
                </a:cxn>
              </a:cxnLst>
              <a:rect l="0" t="0" r="r" b="b"/>
              <a:pathLst>
                <a:path w="175" h="176">
                  <a:moveTo>
                    <a:pt x="169" y="163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7" y="7"/>
                    <a:pt x="111" y="0"/>
                    <a:pt x="88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108" y="132"/>
                    <a:pt x="108" y="132"/>
                    <a:pt x="108" y="132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20" y="171"/>
                    <a:pt x="124" y="175"/>
                    <a:pt x="135" y="175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3" y="174"/>
                    <a:pt x="172" y="170"/>
                    <a:pt x="169" y="163"/>
                  </a:cubicBezTo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1" y="111"/>
                    <a:pt x="101" y="111"/>
                    <a:pt x="101" y="111"/>
                  </a:cubicBezTo>
                  <a:lnTo>
                    <a:pt x="52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black">
            <a:xfrm>
              <a:off x="6337301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3" y="118"/>
                </a:cxn>
                <a:cxn ang="0">
                  <a:pos x="51" y="71"/>
                </a:cxn>
                <a:cxn ang="0">
                  <a:pos x="73" y="25"/>
                </a:cxn>
                <a:cxn ang="0">
                  <a:pos x="94" y="73"/>
                </a:cxn>
                <a:cxn ang="0">
                  <a:pos x="73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3" y="0"/>
                    <a:pt x="73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3" y="118"/>
                  </a:moveTo>
                  <a:cubicBezTo>
                    <a:pt x="57" y="118"/>
                    <a:pt x="51" y="100"/>
                    <a:pt x="51" y="71"/>
                  </a:cubicBezTo>
                  <a:cubicBezTo>
                    <a:pt x="51" y="43"/>
                    <a:pt x="57" y="25"/>
                    <a:pt x="73" y="25"/>
                  </a:cubicBezTo>
                  <a:cubicBezTo>
                    <a:pt x="89" y="25"/>
                    <a:pt x="94" y="44"/>
                    <a:pt x="94" y="73"/>
                  </a:cubicBezTo>
                  <a:cubicBezTo>
                    <a:pt x="94" y="100"/>
                    <a:pt x="89" y="118"/>
                    <a:pt x="73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black">
            <a:xfrm>
              <a:off x="6592888" y="1701801"/>
              <a:ext cx="238125" cy="273050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29" y="177"/>
                </a:cxn>
                <a:cxn ang="0">
                  <a:pos x="29" y="64"/>
                </a:cxn>
                <a:cxn ang="0">
                  <a:pos x="104" y="154"/>
                </a:cxn>
                <a:cxn ang="0">
                  <a:pos x="132" y="177"/>
                </a:cxn>
                <a:cxn ang="0">
                  <a:pos x="154" y="177"/>
                </a:cxn>
                <a:cxn ang="0">
                  <a:pos x="154" y="15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6"/>
                </a:cxn>
                <a:cxn ang="0">
                  <a:pos x="53" y="21"/>
                </a:cxn>
                <a:cxn ang="0">
                  <a:pos x="21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29" y="177"/>
                    <a:pt x="29" y="177"/>
                    <a:pt x="29" y="177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4" y="167"/>
                    <a:pt x="121" y="177"/>
                    <a:pt x="132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6"/>
                    <a:pt x="147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6"/>
                    <a:pt x="125" y="106"/>
                    <a:pt x="125" y="10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2" y="8"/>
                    <a:pt x="37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13"/>
            <p:cNvSpPr>
              <a:spLocks noEditPoints="1"/>
            </p:cNvSpPr>
            <p:nvPr userDrawn="1"/>
          </p:nvSpPr>
          <p:spPr bwMode="black">
            <a:xfrm>
              <a:off x="6861176" y="1758951"/>
              <a:ext cx="222250" cy="220663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44" y="69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2" y="143"/>
                </a:cxn>
                <a:cxn ang="0">
                  <a:pos x="72" y="118"/>
                </a:cxn>
                <a:cxn ang="0">
                  <a:pos x="50" y="71"/>
                </a:cxn>
                <a:cxn ang="0">
                  <a:pos x="72" y="25"/>
                </a:cxn>
                <a:cxn ang="0">
                  <a:pos x="93" y="73"/>
                </a:cxn>
                <a:cxn ang="0">
                  <a:pos x="72" y="118"/>
                </a:cxn>
              </a:cxnLst>
              <a:rect l="0" t="0" r="r" b="b"/>
              <a:pathLst>
                <a:path w="144" h="143">
                  <a:moveTo>
                    <a:pt x="72" y="143"/>
                  </a:moveTo>
                  <a:cubicBezTo>
                    <a:pt x="111" y="143"/>
                    <a:pt x="144" y="115"/>
                    <a:pt x="144" y="69"/>
                  </a:cubicBezTo>
                  <a:cubicBezTo>
                    <a:pt x="144" y="29"/>
                    <a:pt x="112" y="0"/>
                    <a:pt x="72" y="0"/>
                  </a:cubicBezTo>
                  <a:cubicBezTo>
                    <a:pt x="33" y="0"/>
                    <a:pt x="0" y="29"/>
                    <a:pt x="0" y="75"/>
                  </a:cubicBezTo>
                  <a:cubicBezTo>
                    <a:pt x="0" y="116"/>
                    <a:pt x="33" y="143"/>
                    <a:pt x="72" y="143"/>
                  </a:cubicBezTo>
                  <a:moveTo>
                    <a:pt x="72" y="118"/>
                  </a:moveTo>
                  <a:cubicBezTo>
                    <a:pt x="56" y="118"/>
                    <a:pt x="50" y="100"/>
                    <a:pt x="50" y="71"/>
                  </a:cubicBezTo>
                  <a:cubicBezTo>
                    <a:pt x="50" y="43"/>
                    <a:pt x="56" y="25"/>
                    <a:pt x="72" y="25"/>
                  </a:cubicBezTo>
                  <a:cubicBezTo>
                    <a:pt x="88" y="25"/>
                    <a:pt x="93" y="45"/>
                    <a:pt x="93" y="73"/>
                  </a:cubicBezTo>
                  <a:cubicBezTo>
                    <a:pt x="93" y="100"/>
                    <a:pt x="88" y="118"/>
                    <a:pt x="72" y="1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4"/>
            <p:cNvSpPr>
              <a:spLocks noEditPoints="1"/>
            </p:cNvSpPr>
            <p:nvPr userDrawn="1"/>
          </p:nvSpPr>
          <p:spPr bwMode="black">
            <a:xfrm>
              <a:off x="7350126" y="1760538"/>
              <a:ext cx="206375" cy="219075"/>
            </a:xfrm>
            <a:custGeom>
              <a:avLst/>
              <a:gdLst/>
              <a:ahLst/>
              <a:cxnLst>
                <a:cxn ang="0">
                  <a:pos x="134" y="73"/>
                </a:cxn>
                <a:cxn ang="0">
                  <a:pos x="135" y="57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9" y="142"/>
                </a:cxn>
                <a:cxn ang="0">
                  <a:pos x="128" y="99"/>
                </a:cxn>
                <a:cxn ang="0">
                  <a:pos x="89" y="109"/>
                </a:cxn>
                <a:cxn ang="0">
                  <a:pos x="47" y="73"/>
                </a:cxn>
                <a:cxn ang="0">
                  <a:pos x="134" y="73"/>
                </a:cxn>
                <a:cxn ang="0">
                  <a:pos x="47" y="54"/>
                </a:cxn>
                <a:cxn ang="0">
                  <a:pos x="70" y="22"/>
                </a:cxn>
                <a:cxn ang="0">
                  <a:pos x="92" y="54"/>
                </a:cxn>
                <a:cxn ang="0">
                  <a:pos x="47" y="54"/>
                </a:cxn>
              </a:cxnLst>
              <a:rect l="0" t="0" r="r" b="b"/>
              <a:pathLst>
                <a:path w="135" h="142">
                  <a:moveTo>
                    <a:pt x="134" y="73"/>
                  </a:moveTo>
                  <a:cubicBezTo>
                    <a:pt x="135" y="68"/>
                    <a:pt x="135" y="62"/>
                    <a:pt x="135" y="57"/>
                  </a:cubicBezTo>
                  <a:cubicBezTo>
                    <a:pt x="135" y="25"/>
                    <a:pt x="111" y="0"/>
                    <a:pt x="70" y="0"/>
                  </a:cubicBezTo>
                  <a:cubicBezTo>
                    <a:pt x="30" y="0"/>
                    <a:pt x="0" y="28"/>
                    <a:pt x="0" y="71"/>
                  </a:cubicBezTo>
                  <a:cubicBezTo>
                    <a:pt x="0" y="113"/>
                    <a:pt x="26" y="142"/>
                    <a:pt x="69" y="142"/>
                  </a:cubicBezTo>
                  <a:cubicBezTo>
                    <a:pt x="111" y="142"/>
                    <a:pt x="127" y="120"/>
                    <a:pt x="128" y="99"/>
                  </a:cubicBezTo>
                  <a:cubicBezTo>
                    <a:pt x="118" y="105"/>
                    <a:pt x="104" y="109"/>
                    <a:pt x="89" y="109"/>
                  </a:cubicBezTo>
                  <a:cubicBezTo>
                    <a:pt x="65" y="109"/>
                    <a:pt x="50" y="95"/>
                    <a:pt x="47" y="73"/>
                  </a:cubicBezTo>
                  <a:lnTo>
                    <a:pt x="134" y="73"/>
                  </a:lnTo>
                  <a:close/>
                  <a:moveTo>
                    <a:pt x="47" y="54"/>
                  </a:moveTo>
                  <a:cubicBezTo>
                    <a:pt x="49" y="35"/>
                    <a:pt x="57" y="22"/>
                    <a:pt x="70" y="22"/>
                  </a:cubicBezTo>
                  <a:cubicBezTo>
                    <a:pt x="88" y="22"/>
                    <a:pt x="92" y="54"/>
                    <a:pt x="92" y="54"/>
                  </a:cubicBezTo>
                  <a:lnTo>
                    <a:pt x="47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5"/>
            <p:cNvSpPr>
              <a:spLocks noEditPoints="1"/>
            </p:cNvSpPr>
            <p:nvPr userDrawn="1"/>
          </p:nvSpPr>
          <p:spPr bwMode="black">
            <a:xfrm>
              <a:off x="7113588" y="1679576"/>
              <a:ext cx="211138" cy="295275"/>
            </a:xfrm>
            <a:custGeom>
              <a:avLst/>
              <a:gdLst/>
              <a:ahLst/>
              <a:cxnLst>
                <a:cxn ang="0">
                  <a:pos x="83" y="53"/>
                </a:cxn>
                <a:cxn ang="0">
                  <a:pos x="47" y="65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1"/>
                </a:cxn>
                <a:cxn ang="0">
                  <a:pos x="55" y="191"/>
                </a:cxn>
                <a:cxn ang="0">
                  <a:pos x="137" y="112"/>
                </a:cxn>
                <a:cxn ang="0">
                  <a:pos x="83" y="53"/>
                </a:cxn>
                <a:cxn ang="0">
                  <a:pos x="54" y="168"/>
                </a:cxn>
                <a:cxn ang="0">
                  <a:pos x="47" y="168"/>
                </a:cxn>
                <a:cxn ang="0">
                  <a:pos x="47" y="80"/>
                </a:cxn>
                <a:cxn ang="0">
                  <a:pos x="57" y="80"/>
                </a:cxn>
                <a:cxn ang="0">
                  <a:pos x="88" y="118"/>
                </a:cxn>
                <a:cxn ang="0">
                  <a:pos x="54" y="168"/>
                </a:cxn>
              </a:cxnLst>
              <a:rect l="0" t="0" r="r" b="b"/>
              <a:pathLst>
                <a:path w="137" h="191">
                  <a:moveTo>
                    <a:pt x="83" y="53"/>
                  </a:moveTo>
                  <a:cubicBezTo>
                    <a:pt x="67" y="53"/>
                    <a:pt x="53" y="59"/>
                    <a:pt x="47" y="65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107" y="191"/>
                    <a:pt x="137" y="163"/>
                    <a:pt x="137" y="112"/>
                  </a:cubicBezTo>
                  <a:cubicBezTo>
                    <a:pt x="137" y="78"/>
                    <a:pt x="113" y="53"/>
                    <a:pt x="83" y="53"/>
                  </a:cubicBezTo>
                  <a:moveTo>
                    <a:pt x="54" y="168"/>
                  </a:moveTo>
                  <a:cubicBezTo>
                    <a:pt x="47" y="168"/>
                    <a:pt x="47" y="168"/>
                    <a:pt x="47" y="168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50" y="80"/>
                    <a:pt x="52" y="80"/>
                    <a:pt x="57" y="80"/>
                  </a:cubicBezTo>
                  <a:cubicBezTo>
                    <a:pt x="75" y="80"/>
                    <a:pt x="88" y="96"/>
                    <a:pt x="88" y="118"/>
                  </a:cubicBezTo>
                  <a:cubicBezTo>
                    <a:pt x="88" y="151"/>
                    <a:pt x="76" y="168"/>
                    <a:pt x="54" y="16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6"/>
            <p:cNvSpPr>
              <a:spLocks/>
            </p:cNvSpPr>
            <p:nvPr userDrawn="1"/>
          </p:nvSpPr>
          <p:spPr bwMode="black">
            <a:xfrm>
              <a:off x="7588251" y="1679576"/>
              <a:ext cx="69850" cy="295275"/>
            </a:xfrm>
            <a:custGeom>
              <a:avLst/>
              <a:gdLst/>
              <a:ahLst/>
              <a:cxnLst>
                <a:cxn ang="0">
                  <a:pos x="0" y="191"/>
                </a:cxn>
                <a:cxn ang="0">
                  <a:pos x="46" y="191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1"/>
                </a:cxn>
              </a:cxnLst>
              <a:rect l="0" t="0" r="r" b="b"/>
              <a:pathLst>
                <a:path w="46" h="191">
                  <a:moveTo>
                    <a:pt x="0" y="191"/>
                  </a:moveTo>
                  <a:cubicBezTo>
                    <a:pt x="46" y="191"/>
                    <a:pt x="46" y="191"/>
                    <a:pt x="46" y="191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9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954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1, white logo"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7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4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0791112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2317"/>
            <a:ext cx="6372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73779" y="1444250"/>
            <a:ext cx="2270225" cy="496131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9714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4140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2317"/>
            <a:ext cx="4140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31706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2317"/>
            <a:ext cx="2720091" cy="4606396"/>
          </a:xfrm>
        </p:spPr>
        <p:txBody>
          <a:bodyPr/>
          <a:lstStyle>
            <a:lvl1pPr>
              <a:lnSpc>
                <a:spcPts val="1800"/>
              </a:lnSpc>
              <a:defRPr sz="1600"/>
            </a:lvl1pPr>
            <a:lvl2pPr>
              <a:lnSpc>
                <a:spcPts val="1800"/>
              </a:lnSpc>
              <a:defRPr sz="1600"/>
            </a:lvl2pPr>
            <a:lvl3pPr>
              <a:lnSpc>
                <a:spcPts val="1600"/>
              </a:lnSpc>
              <a:spcBef>
                <a:spcPts val="200"/>
              </a:spcBef>
              <a:defRPr sz="1400"/>
            </a:lvl3pPr>
            <a:lvl4pPr>
              <a:lnSpc>
                <a:spcPts val="1400"/>
              </a:lnSpc>
              <a:spcBef>
                <a:spcPts val="200"/>
              </a:spcBef>
              <a:defRPr sz="1200"/>
            </a:lvl4pPr>
            <a:lvl5pPr>
              <a:lnSpc>
                <a:spcPts val="1400"/>
              </a:lnSpc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3224092" y="1602317"/>
            <a:ext cx="2720091" cy="4606396"/>
          </a:xfrm>
        </p:spPr>
        <p:txBody>
          <a:bodyPr/>
          <a:lstStyle>
            <a:lvl1pPr>
              <a:lnSpc>
                <a:spcPts val="1800"/>
              </a:lnSpc>
              <a:defRPr sz="1600"/>
            </a:lvl1pPr>
            <a:lvl2pPr>
              <a:lnSpc>
                <a:spcPts val="1800"/>
              </a:lnSpc>
              <a:defRPr sz="1600"/>
            </a:lvl2pPr>
            <a:lvl3pPr>
              <a:lnSpc>
                <a:spcPts val="1600"/>
              </a:lnSpc>
              <a:spcBef>
                <a:spcPts val="200"/>
              </a:spcBef>
              <a:defRPr sz="1400"/>
            </a:lvl3pPr>
            <a:lvl4pPr>
              <a:lnSpc>
                <a:spcPts val="1400"/>
              </a:lnSpc>
              <a:spcBef>
                <a:spcPts val="200"/>
              </a:spcBef>
              <a:defRPr sz="1200"/>
            </a:lvl4pPr>
            <a:lvl5pPr>
              <a:lnSpc>
                <a:spcPts val="1400"/>
              </a:lnSpc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6088182" y="1602317"/>
            <a:ext cx="2720091" cy="4606396"/>
          </a:xfrm>
        </p:spPr>
        <p:txBody>
          <a:bodyPr/>
          <a:lstStyle>
            <a:lvl1pPr>
              <a:lnSpc>
                <a:spcPts val="1800"/>
              </a:lnSpc>
              <a:defRPr sz="1600"/>
            </a:lvl1pPr>
            <a:lvl2pPr>
              <a:lnSpc>
                <a:spcPts val="1800"/>
              </a:lnSpc>
              <a:defRPr sz="1600"/>
            </a:lvl2pPr>
            <a:lvl3pPr>
              <a:lnSpc>
                <a:spcPts val="1600"/>
              </a:lnSpc>
              <a:spcBef>
                <a:spcPts val="200"/>
              </a:spcBef>
              <a:defRPr sz="1400"/>
            </a:lvl3pPr>
            <a:lvl4pPr>
              <a:lnSpc>
                <a:spcPts val="1400"/>
              </a:lnSpc>
              <a:spcBef>
                <a:spcPts val="200"/>
              </a:spcBef>
              <a:defRPr sz="1200"/>
            </a:lvl4pPr>
            <a:lvl5pPr>
              <a:lnSpc>
                <a:spcPts val="1400"/>
              </a:lnSpc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7422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1444250"/>
            <a:ext cx="9144000" cy="496131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3973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white">
          <a:xfrm>
            <a:off x="5" y="0"/>
            <a:ext cx="914399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405563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39944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1444250"/>
            <a:ext cx="4572000" cy="496131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1444250"/>
            <a:ext cx="4572000" cy="496131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3977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4140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44003" y="1444250"/>
            <a:ext cx="4499999" cy="496131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0988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44250"/>
            <a:ext cx="6548368" cy="4961317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14"/>
          </p:nvPr>
        </p:nvSpPr>
        <p:spPr>
          <a:xfrm>
            <a:off x="6732000" y="1602317"/>
            <a:ext cx="2052000" cy="4606395"/>
          </a:xfrm>
        </p:spPr>
        <p:txBody>
          <a:bodyPr/>
          <a:lstStyle>
            <a:lvl1pPr>
              <a:lnSpc>
                <a:spcPts val="1800"/>
              </a:lnSpc>
              <a:spcBef>
                <a:spcPts val="200"/>
              </a:spcBef>
              <a:defRPr sz="1600"/>
            </a:lvl1pPr>
            <a:lvl2pPr>
              <a:lnSpc>
                <a:spcPts val="1800"/>
              </a:lnSpc>
              <a:spcBef>
                <a:spcPts val="200"/>
              </a:spcBef>
              <a:defRPr sz="1600"/>
            </a:lvl2pPr>
            <a:lvl3pPr>
              <a:lnSpc>
                <a:spcPts val="1600"/>
              </a:lnSpc>
              <a:spcBef>
                <a:spcPts val="200"/>
              </a:spcBef>
              <a:defRPr sz="1400"/>
            </a:lvl3pPr>
            <a:lvl4pPr>
              <a:lnSpc>
                <a:spcPts val="1400"/>
              </a:lnSpc>
              <a:spcBef>
                <a:spcPts val="200"/>
              </a:spcBef>
              <a:defRPr sz="1200"/>
            </a:lvl4pPr>
            <a:lvl5pPr>
              <a:lnSpc>
                <a:spcPts val="1400"/>
              </a:lnSpc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2246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6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1" y="2067617"/>
            <a:ext cx="84240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1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8789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1" y="2067617"/>
            <a:ext cx="41400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4644000" y="2067617"/>
            <a:ext cx="41400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1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932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86" name="Picture Placeholder 85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8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8051211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7"/>
            <a:ext cx="27216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27216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3224092" y="2067617"/>
            <a:ext cx="27216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224092" y="1602317"/>
            <a:ext cx="27216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6088182" y="2067617"/>
            <a:ext cx="27216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088182" y="1602317"/>
            <a:ext cx="27216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4451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4140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4644000" y="2067617"/>
            <a:ext cx="4140000" cy="4141103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27776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1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360001" y="2067611"/>
            <a:ext cx="8424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363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1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1" y="2067611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11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5236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4140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/>
            </a:lvl1pPr>
            <a:lvl2pPr>
              <a:lnSpc>
                <a:spcPct val="100000"/>
              </a:lnSpc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11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143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grpSp>
        <p:nvGrpSpPr>
          <p:cNvPr id="2" name="Group 69"/>
          <p:cNvGrpSpPr/>
          <p:nvPr userDrawn="1"/>
        </p:nvGrpSpPr>
        <p:grpSpPr>
          <a:xfrm>
            <a:off x="452334" y="1636711"/>
            <a:ext cx="8331667" cy="4554514"/>
            <a:chOff x="452333" y="1274889"/>
            <a:chExt cx="8331667" cy="3222290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452333" y="4497179"/>
              <a:ext cx="8331667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 flipV="1">
              <a:off x="452333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528735" y="1274894"/>
              <a:ext cx="208390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62"/>
            <p:cNvGrpSpPr/>
            <p:nvPr/>
          </p:nvGrpSpPr>
          <p:grpSpPr>
            <a:xfrm>
              <a:off x="813530" y="1274889"/>
              <a:ext cx="7970470" cy="2993966"/>
              <a:chOff x="813530" y="1454889"/>
              <a:chExt cx="7970470" cy="2993966"/>
            </a:xfrm>
          </p:grpSpPr>
          <p:sp>
            <p:nvSpPr>
              <p:cNvPr id="16" name="Rectangle 499"/>
              <p:cNvSpPr>
                <a:spLocks noChangeArrowheads="1"/>
              </p:cNvSpPr>
              <p:nvPr/>
            </p:nvSpPr>
            <p:spPr bwMode="auto">
              <a:xfrm>
                <a:off x="813530" y="1454889"/>
                <a:ext cx="7970470" cy="2992698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7" name="Straight Connector 16"/>
              <p:cNvCxnSpPr/>
              <p:nvPr/>
            </p:nvCxnSpPr>
            <p:spPr>
              <a:xfrm>
                <a:off x="4798765" y="1456156"/>
                <a:ext cx="0" cy="2992699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813600" y="2952505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ctangle 13"/>
            <p:cNvSpPr/>
            <p:nvPr/>
          </p:nvSpPr>
          <p:spPr>
            <a:xfrm>
              <a:off x="8575610" y="4311797"/>
              <a:ext cx="208390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3618" y="4311797"/>
              <a:ext cx="118623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654" y="2986167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79044" y="6068115"/>
            <a:ext cx="1844022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/>
          </p:nvPr>
        </p:nvSpPr>
        <p:spPr>
          <a:xfrm>
            <a:off x="813600" y="1636711"/>
            <a:ext cx="3978000" cy="2111496"/>
          </a:xfrm>
        </p:spPr>
        <p:txBody>
          <a:bodyPr lIns="72000" tIns="72000" rIns="72000" bIns="72000"/>
          <a:lstStyle>
            <a:lvl1pPr>
              <a:lnSpc>
                <a:spcPts val="1400"/>
              </a:lnSpc>
              <a:defRPr sz="1200"/>
            </a:lvl1pPr>
            <a:lvl2pPr marL="179388" indent="-179388">
              <a:lnSpc>
                <a:spcPts val="1400"/>
              </a:lnSpc>
              <a:defRPr sz="1200"/>
            </a:lvl2pPr>
            <a:lvl3pPr>
              <a:lnSpc>
                <a:spcPts val="1400"/>
              </a:lnSpc>
              <a:defRPr sz="1000"/>
            </a:lvl3pPr>
            <a:lvl4pPr>
              <a:lnSpc>
                <a:spcPts val="1400"/>
              </a:lnSpc>
              <a:defRPr sz="1000"/>
            </a:lvl4pPr>
            <a:lvl5pPr>
              <a:lnSpc>
                <a:spcPts val="1400"/>
              </a:lnSpc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5"/>
          </p:nvPr>
        </p:nvSpPr>
        <p:spPr>
          <a:xfrm>
            <a:off x="4806001" y="1636711"/>
            <a:ext cx="3978000" cy="2111496"/>
          </a:xfrm>
        </p:spPr>
        <p:txBody>
          <a:bodyPr lIns="72000" tIns="72000" rIns="72000" bIns="72000"/>
          <a:lstStyle>
            <a:lvl1pPr>
              <a:lnSpc>
                <a:spcPts val="1400"/>
              </a:lnSpc>
              <a:defRPr sz="1200"/>
            </a:lvl1pPr>
            <a:lvl2pPr>
              <a:lnSpc>
                <a:spcPts val="1400"/>
              </a:lnSpc>
              <a:defRPr sz="1200"/>
            </a:lvl2pPr>
            <a:lvl3pPr>
              <a:lnSpc>
                <a:spcPts val="1400"/>
              </a:lnSpc>
              <a:defRPr sz="1000"/>
            </a:lvl3pPr>
            <a:lvl4pPr>
              <a:lnSpc>
                <a:spcPts val="1400"/>
              </a:lnSpc>
              <a:defRPr sz="1000"/>
            </a:lvl4pPr>
            <a:lvl5pPr>
              <a:lnSpc>
                <a:spcPts val="1400"/>
              </a:lnSpc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6"/>
          </p:nvPr>
        </p:nvSpPr>
        <p:spPr>
          <a:xfrm>
            <a:off x="813600" y="3753502"/>
            <a:ext cx="3978000" cy="2111496"/>
          </a:xfrm>
        </p:spPr>
        <p:txBody>
          <a:bodyPr lIns="72000" tIns="72000" rIns="72000" bIns="72000"/>
          <a:lstStyle>
            <a:lvl1pPr>
              <a:lnSpc>
                <a:spcPts val="1400"/>
              </a:lnSpc>
              <a:defRPr sz="1200"/>
            </a:lvl1pPr>
            <a:lvl2pPr>
              <a:lnSpc>
                <a:spcPts val="1400"/>
              </a:lnSpc>
              <a:defRPr sz="1200"/>
            </a:lvl2pPr>
            <a:lvl3pPr>
              <a:lnSpc>
                <a:spcPts val="1400"/>
              </a:lnSpc>
              <a:defRPr sz="1000"/>
            </a:lvl3pPr>
            <a:lvl4pPr>
              <a:lnSpc>
                <a:spcPts val="1400"/>
              </a:lnSpc>
              <a:defRPr sz="1000"/>
            </a:lvl4pPr>
            <a:lvl5pPr>
              <a:lnSpc>
                <a:spcPts val="1400"/>
              </a:lnSpc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17"/>
          </p:nvPr>
        </p:nvSpPr>
        <p:spPr>
          <a:xfrm>
            <a:off x="4806001" y="3753502"/>
            <a:ext cx="3978000" cy="2111496"/>
          </a:xfrm>
        </p:spPr>
        <p:txBody>
          <a:bodyPr lIns="72000" tIns="72000" rIns="72000" bIns="72000"/>
          <a:lstStyle>
            <a:lvl1pPr>
              <a:lnSpc>
                <a:spcPts val="1400"/>
              </a:lnSpc>
              <a:defRPr sz="1200"/>
            </a:lvl1pPr>
            <a:lvl2pPr>
              <a:lnSpc>
                <a:spcPts val="1400"/>
              </a:lnSpc>
              <a:defRPr sz="1200"/>
            </a:lvl2pPr>
            <a:lvl3pPr>
              <a:lnSpc>
                <a:spcPts val="1400"/>
              </a:lnSpc>
              <a:defRPr sz="1000"/>
            </a:lvl3pPr>
            <a:lvl4pPr>
              <a:lnSpc>
                <a:spcPts val="1400"/>
              </a:lnSpc>
              <a:defRPr sz="1000"/>
            </a:lvl4pPr>
            <a:lvl5pPr>
              <a:lnSpc>
                <a:spcPts val="1400"/>
              </a:lnSpc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5762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7"/>
          <p:cNvGrpSpPr/>
          <p:nvPr userDrawn="1"/>
        </p:nvGrpSpPr>
        <p:grpSpPr>
          <a:xfrm>
            <a:off x="452337" y="1636184"/>
            <a:ext cx="6096035" cy="4558362"/>
            <a:chOff x="452333" y="1274890"/>
            <a:chExt cx="6096035" cy="3222289"/>
          </a:xfrm>
        </p:grpSpPr>
        <p:cxnSp>
          <p:nvCxnSpPr>
            <p:cNvPr id="22" name="Straight Arrow Connector 21"/>
            <p:cNvCxnSpPr/>
            <p:nvPr/>
          </p:nvCxnSpPr>
          <p:spPr>
            <a:xfrm>
              <a:off x="452333" y="4497179"/>
              <a:ext cx="6096035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flipV="1">
              <a:off x="452333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528735" y="1274894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62"/>
            <p:cNvGrpSpPr/>
            <p:nvPr/>
          </p:nvGrpSpPr>
          <p:grpSpPr>
            <a:xfrm>
              <a:off x="813530" y="1274890"/>
              <a:ext cx="5734838" cy="2991436"/>
              <a:chOff x="813530" y="1454890"/>
              <a:chExt cx="7970470" cy="2991436"/>
            </a:xfrm>
          </p:grpSpPr>
          <p:sp>
            <p:nvSpPr>
              <p:cNvPr id="36" name="Rectangle 499"/>
              <p:cNvSpPr>
                <a:spLocks noChangeArrowheads="1"/>
              </p:cNvSpPr>
              <p:nvPr/>
            </p:nvSpPr>
            <p:spPr bwMode="auto">
              <a:xfrm>
                <a:off x="813530" y="1454890"/>
                <a:ext cx="7970470" cy="298933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37" name="Straight Connector 36"/>
              <p:cNvCxnSpPr/>
              <p:nvPr/>
            </p:nvCxnSpPr>
            <p:spPr>
              <a:xfrm>
                <a:off x="4798765" y="1456155"/>
                <a:ext cx="0" cy="2990171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>
                <a:off x="813599" y="2951241"/>
                <a:ext cx="7970401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Rectangle 29"/>
            <p:cNvSpPr/>
            <p:nvPr/>
          </p:nvSpPr>
          <p:spPr>
            <a:xfrm>
              <a:off x="6339978" y="4309607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73618" y="4309607"/>
              <a:ext cx="118623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654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64939" y="6071434"/>
            <a:ext cx="1844022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14"/>
          </p:nvPr>
        </p:nvSpPr>
        <p:spPr>
          <a:xfrm>
            <a:off x="6732000" y="1602317"/>
            <a:ext cx="2052000" cy="4606395"/>
          </a:xfrm>
        </p:spPr>
        <p:txBody>
          <a:bodyPr/>
          <a:lstStyle>
            <a:lvl1pPr>
              <a:lnSpc>
                <a:spcPts val="1800"/>
              </a:lnSpc>
              <a:spcBef>
                <a:spcPts val="200"/>
              </a:spcBef>
              <a:defRPr sz="1600"/>
            </a:lvl1pPr>
            <a:lvl2pPr>
              <a:lnSpc>
                <a:spcPts val="1800"/>
              </a:lnSpc>
              <a:spcBef>
                <a:spcPts val="200"/>
              </a:spcBef>
              <a:defRPr sz="1600"/>
            </a:lvl2pPr>
            <a:lvl3pPr>
              <a:lnSpc>
                <a:spcPts val="1600"/>
              </a:lnSpc>
              <a:spcBef>
                <a:spcPts val="200"/>
              </a:spcBef>
              <a:defRPr sz="1400"/>
            </a:lvl3pPr>
            <a:lvl4pPr>
              <a:lnSpc>
                <a:spcPts val="1400"/>
              </a:lnSpc>
              <a:spcBef>
                <a:spcPts val="200"/>
              </a:spcBef>
              <a:defRPr sz="1200"/>
            </a:lvl4pPr>
            <a:lvl5pPr>
              <a:lnSpc>
                <a:spcPts val="1400"/>
              </a:lnSpc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8271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  <p:grpSp>
        <p:nvGrpSpPr>
          <p:cNvPr id="2" name="Group 55"/>
          <p:cNvGrpSpPr/>
          <p:nvPr userDrawn="1"/>
        </p:nvGrpSpPr>
        <p:grpSpPr>
          <a:xfrm>
            <a:off x="4752146" y="1636184"/>
            <a:ext cx="4031854" cy="4558362"/>
            <a:chOff x="4752146" y="1274890"/>
            <a:chExt cx="4031854" cy="3222289"/>
          </a:xfrm>
        </p:grpSpPr>
        <p:cxnSp>
          <p:nvCxnSpPr>
            <p:cNvPr id="15" name="Straight Arrow Connector 14"/>
            <p:cNvCxnSpPr/>
            <p:nvPr/>
          </p:nvCxnSpPr>
          <p:spPr>
            <a:xfrm>
              <a:off x="4752146" y="4497179"/>
              <a:ext cx="4027569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V="1">
              <a:off x="4752146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49"/>
            <p:cNvGrpSpPr/>
            <p:nvPr/>
          </p:nvGrpSpPr>
          <p:grpSpPr>
            <a:xfrm>
              <a:off x="5113343" y="1274890"/>
              <a:ext cx="3666372" cy="2989333"/>
              <a:chOff x="813530" y="1454890"/>
              <a:chExt cx="7970470" cy="2989333"/>
            </a:xfrm>
          </p:grpSpPr>
          <p:sp>
            <p:nvSpPr>
              <p:cNvPr id="23" name="Rectangle 499"/>
              <p:cNvSpPr>
                <a:spLocks noChangeArrowheads="1"/>
              </p:cNvSpPr>
              <p:nvPr/>
            </p:nvSpPr>
            <p:spPr bwMode="auto">
              <a:xfrm>
                <a:off x="813530" y="1454890"/>
                <a:ext cx="7970470" cy="298933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>
                <a:off x="4798765" y="1456156"/>
                <a:ext cx="0" cy="2988067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813600" y="2950189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Rectangle 19"/>
            <p:cNvSpPr/>
            <p:nvPr/>
          </p:nvSpPr>
          <p:spPr>
            <a:xfrm>
              <a:off x="4828549" y="1274894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575610" y="4309607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73432" y="4309607"/>
              <a:ext cx="118623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23464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040159" y="6071434"/>
            <a:ext cx="1844022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2317"/>
            <a:ext cx="4140000" cy="46063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10467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6545697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4"/>
          <p:cNvSpPr>
            <a:spLocks noGrp="1" noChangeAspect="1"/>
          </p:cNvSpPr>
          <p:nvPr>
            <p:ph type="media" sz="quarter" idx="12" hasCustomPrompt="1"/>
          </p:nvPr>
        </p:nvSpPr>
        <p:spPr bwMode="auto">
          <a:xfrm>
            <a:off x="1219193" y="1440002"/>
            <a:ext cx="6705623" cy="4965563"/>
          </a:xfrm>
          <a:solidFill>
            <a:schemeClr val="tx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Strategy Update 2013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376879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55" name="Freeform 5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2" name="Picture Placeholder 71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2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1" name="Rectangle 50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2" name="Straight Arrow Connector 51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5" idx="0"/>
              <a:endCxn id="4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5" idx="3"/>
              <a:endCxn id="4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7766394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Fullsc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smtClean="0">
                <a:solidFill>
                  <a:srgbClr val="000000"/>
                </a:solidFill>
              </a:rPr>
              <a:t>Strategy Update 2013</a:t>
            </a:r>
            <a:endParaRPr lang="nl-NL" dirty="0">
              <a:solidFill>
                <a:srgbClr val="000000"/>
              </a:solidFill>
            </a:endParaRPr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solidFill>
            <a:schemeClr val="tx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2" name="Group 53"/>
          <p:cNvGrpSpPr/>
          <p:nvPr userDrawn="1"/>
        </p:nvGrpSpPr>
        <p:grpSpPr bwMode="gray">
          <a:xfrm>
            <a:off x="-2338348" y="0"/>
            <a:ext cx="2059036" cy="4063864"/>
            <a:chOff x="-3298560" y="0"/>
            <a:chExt cx="2059035" cy="4063864"/>
          </a:xfrm>
        </p:grpSpPr>
        <p:sp>
          <p:nvSpPr>
            <p:cNvPr id="55" name="TextBox 54"/>
            <p:cNvSpPr txBox="1"/>
            <p:nvPr userDrawn="1"/>
          </p:nvSpPr>
          <p:spPr bwMode="gray">
            <a:xfrm>
              <a:off x="-1960876" y="1195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56" name="Rectangle 55"/>
            <p:cNvSpPr/>
            <p:nvPr userDrawn="1"/>
          </p:nvSpPr>
          <p:spPr bwMode="gray">
            <a:xfrm>
              <a:off x="-2217425" y="0"/>
              <a:ext cx="177800" cy="17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6" name="Rectangle 105"/>
            <p:cNvSpPr/>
            <p:nvPr userDrawn="1"/>
          </p:nvSpPr>
          <p:spPr bwMode="gray">
            <a:xfrm>
              <a:off x="-2217425" y="228592"/>
              <a:ext cx="177800" cy="177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7" name="Rectangle 106"/>
            <p:cNvSpPr/>
            <p:nvPr userDrawn="1"/>
          </p:nvSpPr>
          <p:spPr bwMode="gray">
            <a:xfrm>
              <a:off x="-2217425" y="457184"/>
              <a:ext cx="177800" cy="1778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gray">
            <a:xfrm>
              <a:off x="-2217425" y="1142960"/>
              <a:ext cx="177800" cy="177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 userDrawn="1"/>
          </p:nvSpPr>
          <p:spPr bwMode="gray">
            <a:xfrm>
              <a:off x="-2217425" y="1371552"/>
              <a:ext cx="177800" cy="177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-2217425" y="1600144"/>
              <a:ext cx="177800" cy="177800"/>
            </a:xfrm>
            <a:prstGeom prst="rect">
              <a:avLst/>
            </a:prstGeom>
            <a:solidFill>
              <a:srgbClr val="00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1" name="Rectangle 110"/>
            <p:cNvSpPr/>
            <p:nvPr userDrawn="1"/>
          </p:nvSpPr>
          <p:spPr bwMode="gray">
            <a:xfrm>
              <a:off x="-2217425" y="1828736"/>
              <a:ext cx="177800" cy="177800"/>
            </a:xfrm>
            <a:prstGeom prst="rect">
              <a:avLst/>
            </a:prstGeom>
            <a:solidFill>
              <a:srgbClr val="55BE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2" name="Rectangle 111"/>
            <p:cNvSpPr/>
            <p:nvPr userDrawn="1"/>
          </p:nvSpPr>
          <p:spPr bwMode="gray">
            <a:xfrm>
              <a:off x="-2217425" y="2057328"/>
              <a:ext cx="177800" cy="177800"/>
            </a:xfrm>
            <a:prstGeom prst="rect">
              <a:avLst/>
            </a:prstGeom>
            <a:solidFill>
              <a:srgbClr val="446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3" name="Rectangle 112"/>
            <p:cNvSpPr/>
            <p:nvPr userDrawn="1"/>
          </p:nvSpPr>
          <p:spPr bwMode="gray">
            <a:xfrm>
              <a:off x="-2217425" y="2285920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4" name="TextBox 113"/>
            <p:cNvSpPr txBox="1"/>
            <p:nvPr userDrawn="1"/>
          </p:nvSpPr>
          <p:spPr bwMode="gray">
            <a:xfrm>
              <a:off x="-1960876" y="229787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15" name="TextBox 114"/>
            <p:cNvSpPr txBox="1"/>
            <p:nvPr userDrawn="1"/>
          </p:nvSpPr>
          <p:spPr bwMode="gray">
            <a:xfrm>
              <a:off x="-1960876" y="206928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68-105-125</a:t>
              </a:r>
            </a:p>
          </p:txBody>
        </p:sp>
        <p:sp>
          <p:nvSpPr>
            <p:cNvPr id="116" name="TextBox 115"/>
            <p:cNvSpPr txBox="1"/>
            <p:nvPr userDrawn="1"/>
          </p:nvSpPr>
          <p:spPr bwMode="gray">
            <a:xfrm>
              <a:off x="-1960876" y="184069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85-190-207</a:t>
              </a:r>
            </a:p>
          </p:txBody>
        </p:sp>
        <p:sp>
          <p:nvSpPr>
            <p:cNvPr id="117" name="TextBox 116"/>
            <p:cNvSpPr txBox="1"/>
            <p:nvPr userDrawn="1"/>
          </p:nvSpPr>
          <p:spPr bwMode="gray">
            <a:xfrm>
              <a:off x="-1960876" y="161210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46-187</a:t>
              </a:r>
            </a:p>
          </p:txBody>
        </p:sp>
        <p:sp>
          <p:nvSpPr>
            <p:cNvPr id="118" name="TextBox 117"/>
            <p:cNvSpPr txBox="1"/>
            <p:nvPr userDrawn="1"/>
          </p:nvSpPr>
          <p:spPr bwMode="gray">
            <a:xfrm>
              <a:off x="-1960876" y="138350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19" name="TextBox 118"/>
            <p:cNvSpPr txBox="1"/>
            <p:nvPr userDrawn="1"/>
          </p:nvSpPr>
          <p:spPr bwMode="gray">
            <a:xfrm>
              <a:off x="-1960876" y="115491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20" name="TextBox 119"/>
            <p:cNvSpPr txBox="1"/>
            <p:nvPr userDrawn="1"/>
          </p:nvSpPr>
          <p:spPr bwMode="gray">
            <a:xfrm>
              <a:off x="-1960876" y="46914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21" name="TextBox 120"/>
            <p:cNvSpPr txBox="1"/>
            <p:nvPr userDrawn="1"/>
          </p:nvSpPr>
          <p:spPr bwMode="gray">
            <a:xfrm>
              <a:off x="-1960876" y="24054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00-000</a:t>
              </a:r>
            </a:p>
          </p:txBody>
        </p:sp>
        <p:sp>
          <p:nvSpPr>
            <p:cNvPr id="122" name="Rectangle 121"/>
            <p:cNvSpPr/>
            <p:nvPr userDrawn="1"/>
          </p:nvSpPr>
          <p:spPr bwMode="gray">
            <a:xfrm>
              <a:off x="-2217425" y="685776"/>
              <a:ext cx="177800" cy="177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3" name="TextBox 122"/>
            <p:cNvSpPr txBox="1"/>
            <p:nvPr userDrawn="1"/>
          </p:nvSpPr>
          <p:spPr bwMode="gray">
            <a:xfrm>
              <a:off x="-1960876" y="69773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24" name="Rectangle 123"/>
            <p:cNvSpPr/>
            <p:nvPr userDrawn="1"/>
          </p:nvSpPr>
          <p:spPr bwMode="gray">
            <a:xfrm>
              <a:off x="-2217425" y="2743104"/>
              <a:ext cx="177800" cy="1778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5" name="TextBox 124"/>
            <p:cNvSpPr txBox="1"/>
            <p:nvPr userDrawn="1"/>
          </p:nvSpPr>
          <p:spPr bwMode="gray">
            <a:xfrm>
              <a:off x="-1960876" y="275506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26" name="Rectangle 125"/>
            <p:cNvSpPr/>
            <p:nvPr userDrawn="1"/>
          </p:nvSpPr>
          <p:spPr bwMode="gray">
            <a:xfrm>
              <a:off x="-2217425" y="2971696"/>
              <a:ext cx="177800" cy="1778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7" name="TextBox 126"/>
            <p:cNvSpPr txBox="1"/>
            <p:nvPr userDrawn="1"/>
          </p:nvSpPr>
          <p:spPr bwMode="gray">
            <a:xfrm>
              <a:off x="-1960876" y="298365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28" name="Rectangle 127"/>
            <p:cNvSpPr/>
            <p:nvPr userDrawn="1"/>
          </p:nvSpPr>
          <p:spPr bwMode="gray">
            <a:xfrm>
              <a:off x="-2217425" y="3200288"/>
              <a:ext cx="177800" cy="177800"/>
            </a:xfrm>
            <a:prstGeom prst="rect">
              <a:avLst/>
            </a:prstGeom>
            <a:solidFill>
              <a:srgbClr val="868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9" name="TextBox 128"/>
            <p:cNvSpPr txBox="1"/>
            <p:nvPr userDrawn="1"/>
          </p:nvSpPr>
          <p:spPr bwMode="gray">
            <a:xfrm>
              <a:off x="-1960876" y="321224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30" name="Rectangle 129"/>
            <p:cNvSpPr/>
            <p:nvPr userDrawn="1"/>
          </p:nvSpPr>
          <p:spPr bwMode="gray">
            <a:xfrm>
              <a:off x="-2217425" y="3428880"/>
              <a:ext cx="177800" cy="177800"/>
            </a:xfrm>
            <a:prstGeom prst="rect">
              <a:avLst/>
            </a:prstGeom>
            <a:solidFill>
              <a:srgbClr val="B7B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1" name="TextBox 130"/>
            <p:cNvSpPr txBox="1"/>
            <p:nvPr userDrawn="1"/>
          </p:nvSpPr>
          <p:spPr bwMode="gray">
            <a:xfrm>
              <a:off x="-1960876" y="344083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32" name="Rectangle 131"/>
            <p:cNvSpPr/>
            <p:nvPr userDrawn="1"/>
          </p:nvSpPr>
          <p:spPr bwMode="gray">
            <a:xfrm>
              <a:off x="-2217425" y="3657472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3" name="TextBox 132"/>
            <p:cNvSpPr txBox="1"/>
            <p:nvPr userDrawn="1"/>
          </p:nvSpPr>
          <p:spPr bwMode="gray">
            <a:xfrm>
              <a:off x="-1960876" y="366942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34" name="Rectangle 133"/>
            <p:cNvSpPr/>
            <p:nvPr userDrawn="1"/>
          </p:nvSpPr>
          <p:spPr bwMode="gray">
            <a:xfrm>
              <a:off x="-2217425" y="3886064"/>
              <a:ext cx="177800" cy="177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5" name="TextBox 134"/>
            <p:cNvSpPr txBox="1"/>
            <p:nvPr userDrawn="1"/>
          </p:nvSpPr>
          <p:spPr bwMode="gray">
            <a:xfrm>
              <a:off x="-1960876" y="389802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36" name="TextBox 135"/>
            <p:cNvSpPr txBox="1"/>
            <p:nvPr userDrawn="1"/>
          </p:nvSpPr>
          <p:spPr bwMode="gray">
            <a:xfrm>
              <a:off x="-3298560" y="11956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1</a:t>
              </a:r>
            </a:p>
          </p:txBody>
        </p:sp>
        <p:sp>
          <p:nvSpPr>
            <p:cNvPr id="137" name="TextBox 136"/>
            <p:cNvSpPr txBox="1"/>
            <p:nvPr userDrawn="1"/>
          </p:nvSpPr>
          <p:spPr bwMode="gray">
            <a:xfrm>
              <a:off x="-3298560" y="229787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6</a:t>
              </a:r>
            </a:p>
          </p:txBody>
        </p:sp>
        <p:sp>
          <p:nvSpPr>
            <p:cNvPr id="138" name="TextBox 137"/>
            <p:cNvSpPr txBox="1"/>
            <p:nvPr userDrawn="1"/>
          </p:nvSpPr>
          <p:spPr bwMode="gray">
            <a:xfrm>
              <a:off x="-3298560" y="2069284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5</a:t>
              </a:r>
            </a:p>
          </p:txBody>
        </p:sp>
        <p:sp>
          <p:nvSpPr>
            <p:cNvPr id="139" name="TextBox 138"/>
            <p:cNvSpPr txBox="1"/>
            <p:nvPr userDrawn="1"/>
          </p:nvSpPr>
          <p:spPr bwMode="gray">
            <a:xfrm>
              <a:off x="-3298560" y="1840692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4</a:t>
              </a:r>
            </a:p>
          </p:txBody>
        </p:sp>
        <p:sp>
          <p:nvSpPr>
            <p:cNvPr id="140" name="TextBox 139"/>
            <p:cNvSpPr txBox="1"/>
            <p:nvPr userDrawn="1"/>
          </p:nvSpPr>
          <p:spPr bwMode="gray">
            <a:xfrm>
              <a:off x="-3298560" y="1612100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3</a:t>
              </a:r>
            </a:p>
          </p:txBody>
        </p:sp>
        <p:sp>
          <p:nvSpPr>
            <p:cNvPr id="141" name="TextBox 140"/>
            <p:cNvSpPr txBox="1"/>
            <p:nvPr userDrawn="1"/>
          </p:nvSpPr>
          <p:spPr bwMode="gray">
            <a:xfrm>
              <a:off x="-3298560" y="1383508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2</a:t>
              </a:r>
            </a:p>
          </p:txBody>
        </p:sp>
        <p:sp>
          <p:nvSpPr>
            <p:cNvPr id="142" name="TextBox 141"/>
            <p:cNvSpPr txBox="1"/>
            <p:nvPr userDrawn="1"/>
          </p:nvSpPr>
          <p:spPr bwMode="gray">
            <a:xfrm>
              <a:off x="-3298560" y="115491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1</a:t>
              </a:r>
            </a:p>
          </p:txBody>
        </p:sp>
        <p:sp>
          <p:nvSpPr>
            <p:cNvPr id="143" name="TextBox 142"/>
            <p:cNvSpPr txBox="1"/>
            <p:nvPr userDrawn="1"/>
          </p:nvSpPr>
          <p:spPr bwMode="gray">
            <a:xfrm>
              <a:off x="-3298560" y="469140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2</a:t>
              </a:r>
            </a:p>
          </p:txBody>
        </p:sp>
        <p:sp>
          <p:nvSpPr>
            <p:cNvPr id="144" name="TextBox 143"/>
            <p:cNvSpPr txBox="1"/>
            <p:nvPr userDrawn="1"/>
          </p:nvSpPr>
          <p:spPr bwMode="gray">
            <a:xfrm>
              <a:off x="-3298560" y="240548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1</a:t>
              </a:r>
            </a:p>
          </p:txBody>
        </p:sp>
        <p:sp>
          <p:nvSpPr>
            <p:cNvPr id="145" name="TextBox 144"/>
            <p:cNvSpPr txBox="1"/>
            <p:nvPr userDrawn="1"/>
          </p:nvSpPr>
          <p:spPr bwMode="gray">
            <a:xfrm>
              <a:off x="-3298560" y="697732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2</a:t>
              </a:r>
            </a:p>
          </p:txBody>
        </p:sp>
        <p:sp>
          <p:nvSpPr>
            <p:cNvPr id="146" name="TextBox 145"/>
            <p:cNvSpPr txBox="1"/>
            <p:nvPr userDrawn="1"/>
          </p:nvSpPr>
          <p:spPr bwMode="gray">
            <a:xfrm>
              <a:off x="-3298560" y="2755060"/>
              <a:ext cx="34144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Hyper</a:t>
              </a:r>
            </a:p>
          </p:txBody>
        </p:sp>
        <p:sp>
          <p:nvSpPr>
            <p:cNvPr id="147" name="TextBox 146"/>
            <p:cNvSpPr txBox="1"/>
            <p:nvPr userDrawn="1"/>
          </p:nvSpPr>
          <p:spPr bwMode="gray">
            <a:xfrm>
              <a:off x="-3298560" y="2983652"/>
              <a:ext cx="49051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F. Hyper</a:t>
              </a:r>
            </a:p>
          </p:txBody>
        </p:sp>
        <p:sp>
          <p:nvSpPr>
            <p:cNvPr id="148" name="TextBox 147"/>
            <p:cNvSpPr txBox="1"/>
            <p:nvPr userDrawn="1"/>
          </p:nvSpPr>
          <p:spPr bwMode="gray">
            <a:xfrm>
              <a:off x="-3298560" y="3212244"/>
              <a:ext cx="4472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D2</a:t>
              </a:r>
            </a:p>
          </p:txBody>
        </p:sp>
        <p:sp>
          <p:nvSpPr>
            <p:cNvPr id="149" name="TextBox 148"/>
            <p:cNvSpPr txBox="1"/>
            <p:nvPr userDrawn="1"/>
          </p:nvSpPr>
          <p:spPr bwMode="gray">
            <a:xfrm>
              <a:off x="-3298560" y="3440836"/>
              <a:ext cx="42479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L2</a:t>
              </a:r>
            </a:p>
          </p:txBody>
        </p:sp>
        <p:sp>
          <p:nvSpPr>
            <p:cNvPr id="150" name="TextBox 149"/>
            <p:cNvSpPr txBox="1"/>
            <p:nvPr userDrawn="1"/>
          </p:nvSpPr>
          <p:spPr bwMode="gray">
            <a:xfrm>
              <a:off x="-3298560" y="3669428"/>
              <a:ext cx="75020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</a:t>
              </a:r>
            </a:p>
          </p:txBody>
        </p:sp>
        <p:sp>
          <p:nvSpPr>
            <p:cNvPr id="151" name="TextBox 150"/>
            <p:cNvSpPr txBox="1"/>
            <p:nvPr userDrawn="1"/>
          </p:nvSpPr>
          <p:spPr bwMode="gray">
            <a:xfrm>
              <a:off x="-3298560" y="3898020"/>
              <a:ext cx="997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 2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693888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9"/>
          <p:cNvGrpSpPr/>
          <p:nvPr userDrawn="1"/>
        </p:nvGrpSpPr>
        <p:grpSpPr bwMode="gray">
          <a:xfrm>
            <a:off x="-2338348" y="0"/>
            <a:ext cx="2059036" cy="4063864"/>
            <a:chOff x="-3298560" y="0"/>
            <a:chExt cx="2059035" cy="4063864"/>
          </a:xfrm>
        </p:grpSpPr>
        <p:sp>
          <p:nvSpPr>
            <p:cNvPr id="101" name="TextBox 100"/>
            <p:cNvSpPr txBox="1"/>
            <p:nvPr userDrawn="1"/>
          </p:nvSpPr>
          <p:spPr bwMode="gray">
            <a:xfrm>
              <a:off x="-1960876" y="1195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02" name="Rectangle 101"/>
            <p:cNvSpPr/>
            <p:nvPr userDrawn="1"/>
          </p:nvSpPr>
          <p:spPr bwMode="gray">
            <a:xfrm>
              <a:off x="-2217425" y="0"/>
              <a:ext cx="177800" cy="17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3" name="Rectangle 102"/>
            <p:cNvSpPr/>
            <p:nvPr userDrawn="1"/>
          </p:nvSpPr>
          <p:spPr bwMode="gray">
            <a:xfrm>
              <a:off x="-2217425" y="228592"/>
              <a:ext cx="177800" cy="177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4" name="Rectangle 103"/>
            <p:cNvSpPr/>
            <p:nvPr userDrawn="1"/>
          </p:nvSpPr>
          <p:spPr bwMode="gray">
            <a:xfrm>
              <a:off x="-2217425" y="457184"/>
              <a:ext cx="177800" cy="1778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5" name="Rectangle 104"/>
            <p:cNvSpPr/>
            <p:nvPr userDrawn="1"/>
          </p:nvSpPr>
          <p:spPr bwMode="gray">
            <a:xfrm>
              <a:off x="-2217425" y="1142960"/>
              <a:ext cx="177800" cy="177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6" name="Rectangle 105"/>
            <p:cNvSpPr/>
            <p:nvPr userDrawn="1"/>
          </p:nvSpPr>
          <p:spPr bwMode="gray">
            <a:xfrm>
              <a:off x="-2217425" y="1371552"/>
              <a:ext cx="177800" cy="177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7" name="Rectangle 106"/>
            <p:cNvSpPr/>
            <p:nvPr userDrawn="1"/>
          </p:nvSpPr>
          <p:spPr bwMode="gray">
            <a:xfrm>
              <a:off x="-2217425" y="1600144"/>
              <a:ext cx="177800" cy="177800"/>
            </a:xfrm>
            <a:prstGeom prst="rect">
              <a:avLst/>
            </a:prstGeom>
            <a:solidFill>
              <a:srgbClr val="00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gray">
            <a:xfrm>
              <a:off x="-2217425" y="1828736"/>
              <a:ext cx="177800" cy="177800"/>
            </a:xfrm>
            <a:prstGeom prst="rect">
              <a:avLst/>
            </a:prstGeom>
            <a:solidFill>
              <a:srgbClr val="55BE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 userDrawn="1"/>
          </p:nvSpPr>
          <p:spPr bwMode="gray">
            <a:xfrm>
              <a:off x="-2217425" y="2057328"/>
              <a:ext cx="177800" cy="177800"/>
            </a:xfrm>
            <a:prstGeom prst="rect">
              <a:avLst/>
            </a:prstGeom>
            <a:solidFill>
              <a:srgbClr val="446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0" name="Rectangle 109"/>
            <p:cNvSpPr/>
            <p:nvPr userDrawn="1"/>
          </p:nvSpPr>
          <p:spPr bwMode="gray">
            <a:xfrm>
              <a:off x="-2217425" y="2285920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1" name="TextBox 110"/>
            <p:cNvSpPr txBox="1"/>
            <p:nvPr userDrawn="1"/>
          </p:nvSpPr>
          <p:spPr bwMode="gray">
            <a:xfrm>
              <a:off x="-1960876" y="229787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12" name="TextBox 111"/>
            <p:cNvSpPr txBox="1"/>
            <p:nvPr userDrawn="1"/>
          </p:nvSpPr>
          <p:spPr bwMode="gray">
            <a:xfrm>
              <a:off x="-1960876" y="206928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68-105-125</a:t>
              </a:r>
            </a:p>
          </p:txBody>
        </p:sp>
        <p:sp>
          <p:nvSpPr>
            <p:cNvPr id="113" name="TextBox 112"/>
            <p:cNvSpPr txBox="1"/>
            <p:nvPr userDrawn="1"/>
          </p:nvSpPr>
          <p:spPr bwMode="gray">
            <a:xfrm>
              <a:off x="-1960876" y="184069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85-190-207</a:t>
              </a:r>
            </a:p>
          </p:txBody>
        </p:sp>
        <p:sp>
          <p:nvSpPr>
            <p:cNvPr id="114" name="TextBox 113"/>
            <p:cNvSpPr txBox="1"/>
            <p:nvPr userDrawn="1"/>
          </p:nvSpPr>
          <p:spPr bwMode="gray">
            <a:xfrm>
              <a:off x="-1960876" y="161210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46-187</a:t>
              </a:r>
            </a:p>
          </p:txBody>
        </p:sp>
        <p:sp>
          <p:nvSpPr>
            <p:cNvPr id="115" name="TextBox 114"/>
            <p:cNvSpPr txBox="1"/>
            <p:nvPr userDrawn="1"/>
          </p:nvSpPr>
          <p:spPr bwMode="gray">
            <a:xfrm>
              <a:off x="-1960876" y="138350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16" name="TextBox 115"/>
            <p:cNvSpPr txBox="1"/>
            <p:nvPr userDrawn="1"/>
          </p:nvSpPr>
          <p:spPr bwMode="gray">
            <a:xfrm>
              <a:off x="-1960876" y="115491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17" name="TextBox 116"/>
            <p:cNvSpPr txBox="1"/>
            <p:nvPr userDrawn="1"/>
          </p:nvSpPr>
          <p:spPr bwMode="gray">
            <a:xfrm>
              <a:off x="-1960876" y="46914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18" name="TextBox 117"/>
            <p:cNvSpPr txBox="1"/>
            <p:nvPr userDrawn="1"/>
          </p:nvSpPr>
          <p:spPr bwMode="gray">
            <a:xfrm>
              <a:off x="-1960876" y="24054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00-000</a:t>
              </a:r>
            </a:p>
          </p:txBody>
        </p:sp>
        <p:sp>
          <p:nvSpPr>
            <p:cNvPr id="119" name="Rectangle 118"/>
            <p:cNvSpPr/>
            <p:nvPr userDrawn="1"/>
          </p:nvSpPr>
          <p:spPr bwMode="gray">
            <a:xfrm>
              <a:off x="-2217425" y="685776"/>
              <a:ext cx="177800" cy="177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0" name="TextBox 119"/>
            <p:cNvSpPr txBox="1"/>
            <p:nvPr userDrawn="1"/>
          </p:nvSpPr>
          <p:spPr bwMode="gray">
            <a:xfrm>
              <a:off x="-1960876" y="69773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21" name="Rectangle 120"/>
            <p:cNvSpPr/>
            <p:nvPr userDrawn="1"/>
          </p:nvSpPr>
          <p:spPr bwMode="gray">
            <a:xfrm>
              <a:off x="-2217425" y="2743104"/>
              <a:ext cx="177800" cy="1778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2" name="TextBox 121"/>
            <p:cNvSpPr txBox="1"/>
            <p:nvPr userDrawn="1"/>
          </p:nvSpPr>
          <p:spPr bwMode="gray">
            <a:xfrm>
              <a:off x="-1960876" y="275506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123" name="Rectangle 122"/>
            <p:cNvSpPr/>
            <p:nvPr userDrawn="1"/>
          </p:nvSpPr>
          <p:spPr bwMode="gray">
            <a:xfrm>
              <a:off x="-2217425" y="2971696"/>
              <a:ext cx="177800" cy="1778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4" name="TextBox 123"/>
            <p:cNvSpPr txBox="1"/>
            <p:nvPr userDrawn="1"/>
          </p:nvSpPr>
          <p:spPr bwMode="gray">
            <a:xfrm>
              <a:off x="-1960876" y="298365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125" name="Rectangle 124"/>
            <p:cNvSpPr/>
            <p:nvPr userDrawn="1"/>
          </p:nvSpPr>
          <p:spPr bwMode="gray">
            <a:xfrm>
              <a:off x="-2217425" y="3200288"/>
              <a:ext cx="177800" cy="177800"/>
            </a:xfrm>
            <a:prstGeom prst="rect">
              <a:avLst/>
            </a:prstGeom>
            <a:solidFill>
              <a:srgbClr val="868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6" name="TextBox 125"/>
            <p:cNvSpPr txBox="1"/>
            <p:nvPr userDrawn="1"/>
          </p:nvSpPr>
          <p:spPr bwMode="gray">
            <a:xfrm>
              <a:off x="-1960876" y="321224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127" name="Rectangle 126"/>
            <p:cNvSpPr/>
            <p:nvPr userDrawn="1"/>
          </p:nvSpPr>
          <p:spPr bwMode="gray">
            <a:xfrm>
              <a:off x="-2217425" y="3428880"/>
              <a:ext cx="177800" cy="177800"/>
            </a:xfrm>
            <a:prstGeom prst="rect">
              <a:avLst/>
            </a:prstGeom>
            <a:solidFill>
              <a:srgbClr val="B7B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TextBox 127"/>
            <p:cNvSpPr txBox="1"/>
            <p:nvPr userDrawn="1"/>
          </p:nvSpPr>
          <p:spPr bwMode="gray">
            <a:xfrm>
              <a:off x="-1960876" y="344083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129" name="Rectangle 128"/>
            <p:cNvSpPr/>
            <p:nvPr userDrawn="1"/>
          </p:nvSpPr>
          <p:spPr bwMode="gray">
            <a:xfrm>
              <a:off x="-2217425" y="3657472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0" name="TextBox 129"/>
            <p:cNvSpPr txBox="1"/>
            <p:nvPr userDrawn="1"/>
          </p:nvSpPr>
          <p:spPr bwMode="gray">
            <a:xfrm>
              <a:off x="-1960876" y="366942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131" name="Rectangle 130"/>
            <p:cNvSpPr/>
            <p:nvPr userDrawn="1"/>
          </p:nvSpPr>
          <p:spPr bwMode="gray">
            <a:xfrm>
              <a:off x="-2217425" y="3886064"/>
              <a:ext cx="177800" cy="177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2" name="TextBox 131"/>
            <p:cNvSpPr txBox="1"/>
            <p:nvPr userDrawn="1"/>
          </p:nvSpPr>
          <p:spPr bwMode="gray">
            <a:xfrm>
              <a:off x="-1960876" y="389802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33" name="TextBox 132"/>
            <p:cNvSpPr txBox="1"/>
            <p:nvPr userDrawn="1"/>
          </p:nvSpPr>
          <p:spPr bwMode="gray">
            <a:xfrm>
              <a:off x="-3298560" y="11956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1</a:t>
              </a:r>
            </a:p>
          </p:txBody>
        </p:sp>
        <p:sp>
          <p:nvSpPr>
            <p:cNvPr id="134" name="TextBox 133"/>
            <p:cNvSpPr txBox="1"/>
            <p:nvPr userDrawn="1"/>
          </p:nvSpPr>
          <p:spPr bwMode="gray">
            <a:xfrm>
              <a:off x="-3298560" y="229787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6</a:t>
              </a:r>
            </a:p>
          </p:txBody>
        </p:sp>
        <p:sp>
          <p:nvSpPr>
            <p:cNvPr id="135" name="TextBox 134"/>
            <p:cNvSpPr txBox="1"/>
            <p:nvPr userDrawn="1"/>
          </p:nvSpPr>
          <p:spPr bwMode="gray">
            <a:xfrm>
              <a:off x="-3298560" y="2069284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5</a:t>
              </a:r>
            </a:p>
          </p:txBody>
        </p:sp>
        <p:sp>
          <p:nvSpPr>
            <p:cNvPr id="136" name="TextBox 135"/>
            <p:cNvSpPr txBox="1"/>
            <p:nvPr userDrawn="1"/>
          </p:nvSpPr>
          <p:spPr bwMode="gray">
            <a:xfrm>
              <a:off x="-3298560" y="1840692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4</a:t>
              </a:r>
            </a:p>
          </p:txBody>
        </p:sp>
        <p:sp>
          <p:nvSpPr>
            <p:cNvPr id="137" name="TextBox 136"/>
            <p:cNvSpPr txBox="1"/>
            <p:nvPr userDrawn="1"/>
          </p:nvSpPr>
          <p:spPr bwMode="gray">
            <a:xfrm>
              <a:off x="-3298560" y="1612100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3</a:t>
              </a:r>
            </a:p>
          </p:txBody>
        </p:sp>
        <p:sp>
          <p:nvSpPr>
            <p:cNvPr id="138" name="TextBox 137"/>
            <p:cNvSpPr txBox="1"/>
            <p:nvPr userDrawn="1"/>
          </p:nvSpPr>
          <p:spPr bwMode="gray">
            <a:xfrm>
              <a:off x="-3298560" y="1383508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2</a:t>
              </a:r>
            </a:p>
          </p:txBody>
        </p:sp>
        <p:sp>
          <p:nvSpPr>
            <p:cNvPr id="139" name="TextBox 138"/>
            <p:cNvSpPr txBox="1"/>
            <p:nvPr userDrawn="1"/>
          </p:nvSpPr>
          <p:spPr bwMode="gray">
            <a:xfrm>
              <a:off x="-3298560" y="115491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1</a:t>
              </a:r>
            </a:p>
          </p:txBody>
        </p:sp>
        <p:sp>
          <p:nvSpPr>
            <p:cNvPr id="140" name="TextBox 139"/>
            <p:cNvSpPr txBox="1"/>
            <p:nvPr userDrawn="1"/>
          </p:nvSpPr>
          <p:spPr bwMode="gray">
            <a:xfrm>
              <a:off x="-3298560" y="469140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2</a:t>
              </a:r>
            </a:p>
          </p:txBody>
        </p:sp>
        <p:sp>
          <p:nvSpPr>
            <p:cNvPr id="141" name="TextBox 140"/>
            <p:cNvSpPr txBox="1"/>
            <p:nvPr userDrawn="1"/>
          </p:nvSpPr>
          <p:spPr bwMode="gray">
            <a:xfrm>
              <a:off x="-3298560" y="240548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1</a:t>
              </a:r>
            </a:p>
          </p:txBody>
        </p:sp>
        <p:sp>
          <p:nvSpPr>
            <p:cNvPr id="142" name="TextBox 141"/>
            <p:cNvSpPr txBox="1"/>
            <p:nvPr userDrawn="1"/>
          </p:nvSpPr>
          <p:spPr bwMode="gray">
            <a:xfrm>
              <a:off x="-3298560" y="697732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2</a:t>
              </a:r>
            </a:p>
          </p:txBody>
        </p:sp>
        <p:sp>
          <p:nvSpPr>
            <p:cNvPr id="143" name="TextBox 142"/>
            <p:cNvSpPr txBox="1"/>
            <p:nvPr userDrawn="1"/>
          </p:nvSpPr>
          <p:spPr bwMode="gray">
            <a:xfrm>
              <a:off x="-3298560" y="2755060"/>
              <a:ext cx="34144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Hyper</a:t>
              </a:r>
            </a:p>
          </p:txBody>
        </p:sp>
        <p:sp>
          <p:nvSpPr>
            <p:cNvPr id="144" name="TextBox 143"/>
            <p:cNvSpPr txBox="1"/>
            <p:nvPr userDrawn="1"/>
          </p:nvSpPr>
          <p:spPr bwMode="gray">
            <a:xfrm>
              <a:off x="-3298560" y="2983652"/>
              <a:ext cx="49051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F. Hyper</a:t>
              </a:r>
            </a:p>
          </p:txBody>
        </p:sp>
        <p:sp>
          <p:nvSpPr>
            <p:cNvPr id="145" name="TextBox 144"/>
            <p:cNvSpPr txBox="1"/>
            <p:nvPr userDrawn="1"/>
          </p:nvSpPr>
          <p:spPr bwMode="gray">
            <a:xfrm>
              <a:off x="-3298560" y="3212244"/>
              <a:ext cx="4472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D2</a:t>
              </a:r>
            </a:p>
          </p:txBody>
        </p:sp>
        <p:sp>
          <p:nvSpPr>
            <p:cNvPr id="146" name="TextBox 145"/>
            <p:cNvSpPr txBox="1"/>
            <p:nvPr userDrawn="1"/>
          </p:nvSpPr>
          <p:spPr bwMode="gray">
            <a:xfrm>
              <a:off x="-3298560" y="3440836"/>
              <a:ext cx="42479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L2</a:t>
              </a:r>
            </a:p>
          </p:txBody>
        </p:sp>
        <p:sp>
          <p:nvSpPr>
            <p:cNvPr id="147" name="TextBox 146"/>
            <p:cNvSpPr txBox="1"/>
            <p:nvPr userDrawn="1"/>
          </p:nvSpPr>
          <p:spPr bwMode="gray">
            <a:xfrm>
              <a:off x="-3298560" y="3669428"/>
              <a:ext cx="75020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</a:t>
              </a:r>
            </a:p>
          </p:txBody>
        </p:sp>
        <p:sp>
          <p:nvSpPr>
            <p:cNvPr id="148" name="TextBox 147"/>
            <p:cNvSpPr txBox="1"/>
            <p:nvPr userDrawn="1"/>
          </p:nvSpPr>
          <p:spPr bwMode="gray">
            <a:xfrm>
              <a:off x="-3298560" y="3898020"/>
              <a:ext cx="997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 2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838218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N_PowerPointTemplates_2012_16x9_0629-08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65"/>
          <p:cNvGrpSpPr/>
          <p:nvPr userDrawn="1"/>
        </p:nvGrpSpPr>
        <p:grpSpPr bwMode="gray">
          <a:xfrm>
            <a:off x="-2338348" y="0"/>
            <a:ext cx="2059036" cy="4063864"/>
            <a:chOff x="-3298560" y="0"/>
            <a:chExt cx="2059035" cy="4063864"/>
          </a:xfrm>
        </p:grpSpPr>
        <p:sp>
          <p:nvSpPr>
            <p:cNvPr id="67" name="TextBox 66"/>
            <p:cNvSpPr txBox="1"/>
            <p:nvPr userDrawn="1"/>
          </p:nvSpPr>
          <p:spPr bwMode="gray">
            <a:xfrm>
              <a:off x="-1960876" y="1195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68" name="Rectangle 67"/>
            <p:cNvSpPr/>
            <p:nvPr userDrawn="1"/>
          </p:nvSpPr>
          <p:spPr bwMode="gray">
            <a:xfrm>
              <a:off x="-2217425" y="0"/>
              <a:ext cx="177800" cy="17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69" name="Rectangle 68"/>
            <p:cNvSpPr/>
            <p:nvPr userDrawn="1"/>
          </p:nvSpPr>
          <p:spPr bwMode="gray">
            <a:xfrm>
              <a:off x="-2217425" y="228592"/>
              <a:ext cx="177800" cy="177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0" name="Rectangle 69"/>
            <p:cNvSpPr/>
            <p:nvPr userDrawn="1"/>
          </p:nvSpPr>
          <p:spPr bwMode="gray">
            <a:xfrm>
              <a:off x="-2217425" y="457184"/>
              <a:ext cx="177800" cy="1778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1" name="Rectangle 70"/>
            <p:cNvSpPr/>
            <p:nvPr userDrawn="1"/>
          </p:nvSpPr>
          <p:spPr bwMode="gray">
            <a:xfrm>
              <a:off x="-2217425" y="1142960"/>
              <a:ext cx="177800" cy="177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gray">
            <a:xfrm>
              <a:off x="-2217425" y="1371552"/>
              <a:ext cx="177800" cy="177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3" name="Rectangle 72"/>
            <p:cNvSpPr/>
            <p:nvPr userDrawn="1"/>
          </p:nvSpPr>
          <p:spPr bwMode="gray">
            <a:xfrm>
              <a:off x="-2217425" y="1600144"/>
              <a:ext cx="177800" cy="177800"/>
            </a:xfrm>
            <a:prstGeom prst="rect">
              <a:avLst/>
            </a:prstGeom>
            <a:solidFill>
              <a:srgbClr val="00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4" name="Rectangle 73"/>
            <p:cNvSpPr/>
            <p:nvPr userDrawn="1"/>
          </p:nvSpPr>
          <p:spPr bwMode="gray">
            <a:xfrm>
              <a:off x="-2217425" y="1828736"/>
              <a:ext cx="177800" cy="177800"/>
            </a:xfrm>
            <a:prstGeom prst="rect">
              <a:avLst/>
            </a:prstGeom>
            <a:solidFill>
              <a:srgbClr val="55BE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5" name="Rectangle 74"/>
            <p:cNvSpPr/>
            <p:nvPr userDrawn="1"/>
          </p:nvSpPr>
          <p:spPr bwMode="gray">
            <a:xfrm>
              <a:off x="-2217425" y="2057328"/>
              <a:ext cx="177800" cy="177800"/>
            </a:xfrm>
            <a:prstGeom prst="rect">
              <a:avLst/>
            </a:prstGeom>
            <a:solidFill>
              <a:srgbClr val="446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6" name="Rectangle 75"/>
            <p:cNvSpPr/>
            <p:nvPr userDrawn="1"/>
          </p:nvSpPr>
          <p:spPr bwMode="gray">
            <a:xfrm>
              <a:off x="-2217425" y="2285920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7" name="TextBox 76"/>
            <p:cNvSpPr txBox="1"/>
            <p:nvPr userDrawn="1"/>
          </p:nvSpPr>
          <p:spPr bwMode="gray">
            <a:xfrm>
              <a:off x="-1960876" y="229787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 bwMode="gray">
            <a:xfrm>
              <a:off x="-1960876" y="206928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68-105-125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 bwMode="gray">
            <a:xfrm>
              <a:off x="-1960876" y="184069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85-190-207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 bwMode="gray">
            <a:xfrm>
              <a:off x="-1960876" y="161210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46-1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 bwMode="gray">
            <a:xfrm>
              <a:off x="-1960876" y="138350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 bwMode="gray">
            <a:xfrm>
              <a:off x="-1960876" y="115491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 bwMode="gray">
            <a:xfrm>
              <a:off x="-1960876" y="46914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 bwMode="gray">
            <a:xfrm>
              <a:off x="-1960876" y="24054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00-000</a:t>
              </a:r>
            </a:p>
          </p:txBody>
        </p:sp>
        <p:sp>
          <p:nvSpPr>
            <p:cNvPr id="85" name="Rectangle 84"/>
            <p:cNvSpPr/>
            <p:nvPr userDrawn="1"/>
          </p:nvSpPr>
          <p:spPr bwMode="gray">
            <a:xfrm>
              <a:off x="-2217425" y="685776"/>
              <a:ext cx="177800" cy="177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86" name="TextBox 85"/>
            <p:cNvSpPr txBox="1"/>
            <p:nvPr userDrawn="1"/>
          </p:nvSpPr>
          <p:spPr bwMode="gray">
            <a:xfrm>
              <a:off x="-1960876" y="69773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87" name="Rectangle 86"/>
            <p:cNvSpPr/>
            <p:nvPr userDrawn="1"/>
          </p:nvSpPr>
          <p:spPr bwMode="gray">
            <a:xfrm>
              <a:off x="-2217425" y="2743104"/>
              <a:ext cx="177800" cy="1778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88" name="TextBox 87"/>
            <p:cNvSpPr txBox="1"/>
            <p:nvPr userDrawn="1"/>
          </p:nvSpPr>
          <p:spPr bwMode="gray">
            <a:xfrm>
              <a:off x="-1960876" y="275506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89" name="Rectangle 88"/>
            <p:cNvSpPr/>
            <p:nvPr userDrawn="1"/>
          </p:nvSpPr>
          <p:spPr bwMode="gray">
            <a:xfrm>
              <a:off x="-2217425" y="2971696"/>
              <a:ext cx="177800" cy="1778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0" name="TextBox 89"/>
            <p:cNvSpPr txBox="1"/>
            <p:nvPr userDrawn="1"/>
          </p:nvSpPr>
          <p:spPr bwMode="gray">
            <a:xfrm>
              <a:off x="-1960876" y="298365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91" name="Rectangle 90"/>
            <p:cNvSpPr/>
            <p:nvPr userDrawn="1"/>
          </p:nvSpPr>
          <p:spPr bwMode="gray">
            <a:xfrm>
              <a:off x="-2217425" y="3200288"/>
              <a:ext cx="177800" cy="177800"/>
            </a:xfrm>
            <a:prstGeom prst="rect">
              <a:avLst/>
            </a:prstGeom>
            <a:solidFill>
              <a:srgbClr val="868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2" name="TextBox 91"/>
            <p:cNvSpPr txBox="1"/>
            <p:nvPr userDrawn="1"/>
          </p:nvSpPr>
          <p:spPr bwMode="gray">
            <a:xfrm>
              <a:off x="-1960876" y="321224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93" name="Rectangle 92"/>
            <p:cNvSpPr/>
            <p:nvPr userDrawn="1"/>
          </p:nvSpPr>
          <p:spPr bwMode="gray">
            <a:xfrm>
              <a:off x="-2217425" y="3428880"/>
              <a:ext cx="177800" cy="177800"/>
            </a:xfrm>
            <a:prstGeom prst="rect">
              <a:avLst/>
            </a:prstGeom>
            <a:solidFill>
              <a:srgbClr val="B7B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 bwMode="gray">
            <a:xfrm>
              <a:off x="-1960876" y="344083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95" name="Rectangle 94"/>
            <p:cNvSpPr/>
            <p:nvPr userDrawn="1"/>
          </p:nvSpPr>
          <p:spPr bwMode="gray">
            <a:xfrm>
              <a:off x="-2217425" y="3657472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 bwMode="gray">
            <a:xfrm>
              <a:off x="-1960876" y="366942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97" name="Rectangle 96"/>
            <p:cNvSpPr/>
            <p:nvPr userDrawn="1"/>
          </p:nvSpPr>
          <p:spPr bwMode="gray">
            <a:xfrm>
              <a:off x="-2217425" y="3886064"/>
              <a:ext cx="177800" cy="177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8" name="TextBox 97"/>
            <p:cNvSpPr txBox="1"/>
            <p:nvPr userDrawn="1"/>
          </p:nvSpPr>
          <p:spPr bwMode="gray">
            <a:xfrm>
              <a:off x="-1960876" y="389802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99" name="TextBox 98"/>
            <p:cNvSpPr txBox="1"/>
            <p:nvPr userDrawn="1"/>
          </p:nvSpPr>
          <p:spPr bwMode="gray">
            <a:xfrm>
              <a:off x="-3298560" y="11956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1</a:t>
              </a:r>
            </a:p>
          </p:txBody>
        </p:sp>
        <p:sp>
          <p:nvSpPr>
            <p:cNvPr id="100" name="TextBox 99"/>
            <p:cNvSpPr txBox="1"/>
            <p:nvPr userDrawn="1"/>
          </p:nvSpPr>
          <p:spPr bwMode="gray">
            <a:xfrm>
              <a:off x="-3298560" y="229787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6</a:t>
              </a:r>
            </a:p>
          </p:txBody>
        </p:sp>
        <p:sp>
          <p:nvSpPr>
            <p:cNvPr id="101" name="TextBox 100"/>
            <p:cNvSpPr txBox="1"/>
            <p:nvPr userDrawn="1"/>
          </p:nvSpPr>
          <p:spPr bwMode="gray">
            <a:xfrm>
              <a:off x="-3298560" y="2069284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5</a:t>
              </a:r>
            </a:p>
          </p:txBody>
        </p:sp>
        <p:sp>
          <p:nvSpPr>
            <p:cNvPr id="102" name="TextBox 101"/>
            <p:cNvSpPr txBox="1"/>
            <p:nvPr userDrawn="1"/>
          </p:nvSpPr>
          <p:spPr bwMode="gray">
            <a:xfrm>
              <a:off x="-3298560" y="1840692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4</a:t>
              </a:r>
            </a:p>
          </p:txBody>
        </p:sp>
        <p:sp>
          <p:nvSpPr>
            <p:cNvPr id="103" name="TextBox 102"/>
            <p:cNvSpPr txBox="1"/>
            <p:nvPr userDrawn="1"/>
          </p:nvSpPr>
          <p:spPr bwMode="gray">
            <a:xfrm>
              <a:off x="-3298560" y="1612100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3</a:t>
              </a:r>
            </a:p>
          </p:txBody>
        </p:sp>
        <p:sp>
          <p:nvSpPr>
            <p:cNvPr id="104" name="TextBox 103"/>
            <p:cNvSpPr txBox="1"/>
            <p:nvPr userDrawn="1"/>
          </p:nvSpPr>
          <p:spPr bwMode="gray">
            <a:xfrm>
              <a:off x="-3298560" y="1383508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2</a:t>
              </a:r>
            </a:p>
          </p:txBody>
        </p:sp>
        <p:sp>
          <p:nvSpPr>
            <p:cNvPr id="105" name="TextBox 104"/>
            <p:cNvSpPr txBox="1"/>
            <p:nvPr userDrawn="1"/>
          </p:nvSpPr>
          <p:spPr bwMode="gray">
            <a:xfrm>
              <a:off x="-3298560" y="115491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1</a:t>
              </a:r>
            </a:p>
          </p:txBody>
        </p:sp>
        <p:sp>
          <p:nvSpPr>
            <p:cNvPr id="106" name="TextBox 105"/>
            <p:cNvSpPr txBox="1"/>
            <p:nvPr userDrawn="1"/>
          </p:nvSpPr>
          <p:spPr bwMode="gray">
            <a:xfrm>
              <a:off x="-3298560" y="469140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2</a:t>
              </a:r>
            </a:p>
          </p:txBody>
        </p:sp>
        <p:sp>
          <p:nvSpPr>
            <p:cNvPr id="107" name="TextBox 106"/>
            <p:cNvSpPr txBox="1"/>
            <p:nvPr userDrawn="1"/>
          </p:nvSpPr>
          <p:spPr bwMode="gray">
            <a:xfrm>
              <a:off x="-3298560" y="240548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1</a:t>
              </a:r>
            </a:p>
          </p:txBody>
        </p:sp>
        <p:sp>
          <p:nvSpPr>
            <p:cNvPr id="108" name="TextBox 107"/>
            <p:cNvSpPr txBox="1"/>
            <p:nvPr userDrawn="1"/>
          </p:nvSpPr>
          <p:spPr bwMode="gray">
            <a:xfrm>
              <a:off x="-3298560" y="697732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2</a:t>
              </a:r>
            </a:p>
          </p:txBody>
        </p:sp>
        <p:sp>
          <p:nvSpPr>
            <p:cNvPr id="109" name="TextBox 108"/>
            <p:cNvSpPr txBox="1"/>
            <p:nvPr userDrawn="1"/>
          </p:nvSpPr>
          <p:spPr bwMode="gray">
            <a:xfrm>
              <a:off x="-3298560" y="2755060"/>
              <a:ext cx="34144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Hyper</a:t>
              </a:r>
            </a:p>
          </p:txBody>
        </p:sp>
        <p:sp>
          <p:nvSpPr>
            <p:cNvPr id="110" name="TextBox 109"/>
            <p:cNvSpPr txBox="1"/>
            <p:nvPr userDrawn="1"/>
          </p:nvSpPr>
          <p:spPr bwMode="gray">
            <a:xfrm>
              <a:off x="-3298560" y="2983652"/>
              <a:ext cx="49051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F. Hyper</a:t>
              </a:r>
            </a:p>
          </p:txBody>
        </p:sp>
        <p:sp>
          <p:nvSpPr>
            <p:cNvPr id="111" name="TextBox 110"/>
            <p:cNvSpPr txBox="1"/>
            <p:nvPr userDrawn="1"/>
          </p:nvSpPr>
          <p:spPr bwMode="gray">
            <a:xfrm>
              <a:off x="-3298560" y="3212244"/>
              <a:ext cx="4472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D2</a:t>
              </a:r>
            </a:p>
          </p:txBody>
        </p:sp>
        <p:sp>
          <p:nvSpPr>
            <p:cNvPr id="112" name="TextBox 111"/>
            <p:cNvSpPr txBox="1"/>
            <p:nvPr userDrawn="1"/>
          </p:nvSpPr>
          <p:spPr bwMode="gray">
            <a:xfrm>
              <a:off x="-3298560" y="3440836"/>
              <a:ext cx="42479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L2</a:t>
              </a:r>
            </a:p>
          </p:txBody>
        </p:sp>
        <p:sp>
          <p:nvSpPr>
            <p:cNvPr id="113" name="TextBox 112"/>
            <p:cNvSpPr txBox="1"/>
            <p:nvPr userDrawn="1"/>
          </p:nvSpPr>
          <p:spPr bwMode="gray">
            <a:xfrm>
              <a:off x="-3298560" y="3669428"/>
              <a:ext cx="75020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</a:t>
              </a:r>
            </a:p>
          </p:txBody>
        </p:sp>
        <p:sp>
          <p:nvSpPr>
            <p:cNvPr id="114" name="TextBox 113"/>
            <p:cNvSpPr txBox="1"/>
            <p:nvPr userDrawn="1"/>
          </p:nvSpPr>
          <p:spPr bwMode="gray">
            <a:xfrm>
              <a:off x="-3298560" y="3898020"/>
              <a:ext cx="997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 2nd</a:t>
              </a:r>
            </a:p>
          </p:txBody>
        </p:sp>
      </p:grpSp>
      <p:grpSp>
        <p:nvGrpSpPr>
          <p:cNvPr id="3" name="Group 64"/>
          <p:cNvGrpSpPr/>
          <p:nvPr userDrawn="1"/>
        </p:nvGrpSpPr>
        <p:grpSpPr>
          <a:xfrm>
            <a:off x="0" y="1404644"/>
            <a:ext cx="9144000" cy="783541"/>
            <a:chOff x="0" y="996164"/>
            <a:chExt cx="9144000" cy="783541"/>
          </a:xfrm>
        </p:grpSpPr>
        <p:pic>
          <p:nvPicPr>
            <p:cNvPr id="115" name="Picture 2" descr="Z:\2010\AkzoNobel Elearning\2010.041\AkzoNobel_logo_strapline_RGB.png"/>
            <p:cNvPicPr>
              <a:picLocks noChangeAspect="1" noChangeArrowheads="1"/>
            </p:cNvPicPr>
            <p:nvPr userDrawn="1"/>
          </p:nvPicPr>
          <p:blipFill>
            <a:blip r:embed="rId3" cstate="email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834" b="43501"/>
            <a:stretch>
              <a:fillRect/>
            </a:stretch>
          </p:blipFill>
          <p:spPr bwMode="auto">
            <a:xfrm>
              <a:off x="7191952" y="996164"/>
              <a:ext cx="1952047" cy="783541"/>
            </a:xfrm>
            <a:prstGeom prst="rect">
              <a:avLst/>
            </a:prstGeom>
            <a:noFill/>
          </p:spPr>
        </p:pic>
        <p:cxnSp>
          <p:nvCxnSpPr>
            <p:cNvPr id="116" name="Straight Connector 115"/>
            <p:cNvCxnSpPr/>
            <p:nvPr/>
          </p:nvCxnSpPr>
          <p:spPr bwMode="auto">
            <a:xfrm>
              <a:off x="0" y="1774211"/>
              <a:ext cx="9144000" cy="0"/>
            </a:xfrm>
            <a:prstGeom prst="line">
              <a:avLst/>
            </a:prstGeom>
            <a:ln w="6350">
              <a:solidFill>
                <a:srgbClr val="0050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116"/>
          <p:cNvGrpSpPr/>
          <p:nvPr userDrawn="1"/>
        </p:nvGrpSpPr>
        <p:grpSpPr>
          <a:xfrm>
            <a:off x="0" y="0"/>
            <a:ext cx="9144000" cy="2820478"/>
            <a:chOff x="0" y="0"/>
            <a:chExt cx="9144000" cy="2820478"/>
          </a:xfrm>
        </p:grpSpPr>
        <p:grpSp>
          <p:nvGrpSpPr>
            <p:cNvPr id="5" name="Group 13"/>
            <p:cNvGrpSpPr/>
            <p:nvPr userDrawn="1"/>
          </p:nvGrpSpPr>
          <p:grpSpPr bwMode="hidden">
            <a:xfrm>
              <a:off x="0" y="0"/>
              <a:ext cx="9144000" cy="2820478"/>
              <a:chOff x="0" y="-408479"/>
              <a:chExt cx="9144000" cy="2820478"/>
            </a:xfrm>
          </p:grpSpPr>
          <p:sp>
            <p:nvSpPr>
              <p:cNvPr id="130" name="Rectangle 129"/>
              <p:cNvSpPr/>
              <p:nvPr/>
            </p:nvSpPr>
            <p:spPr bwMode="hidden">
              <a:xfrm>
                <a:off x="0" y="-408479"/>
                <a:ext cx="9144000" cy="282047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1" name="Picture 2" descr="Z:\2010\AkzoNobel Elearning\2010.041\AkzoNobel_logo_strapline_RGB.png"/>
              <p:cNvPicPr>
                <a:picLocks noChangeAspect="1" noChangeArrowheads="1"/>
              </p:cNvPicPr>
              <p:nvPr userDrawn="1"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834" b="43501"/>
              <a:stretch>
                <a:fillRect/>
              </a:stretch>
            </p:blipFill>
            <p:spPr bwMode="hidden">
              <a:xfrm>
                <a:off x="7191952" y="996164"/>
                <a:ext cx="1952047" cy="783541"/>
              </a:xfrm>
              <a:prstGeom prst="rect">
                <a:avLst/>
              </a:prstGeom>
              <a:noFill/>
            </p:spPr>
          </p:pic>
          <p:cxnSp>
            <p:nvCxnSpPr>
              <p:cNvPr id="132" name="Straight Connector 131"/>
              <p:cNvCxnSpPr/>
              <p:nvPr/>
            </p:nvCxnSpPr>
            <p:spPr bwMode="hidden">
              <a:xfrm>
                <a:off x="0" y="1774211"/>
                <a:ext cx="9144000" cy="0"/>
              </a:xfrm>
              <a:prstGeom prst="line">
                <a:avLst/>
              </a:prstGeom>
              <a:ln w="6350">
                <a:solidFill>
                  <a:srgbClr val="00509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94"/>
            <p:cNvGrpSpPr/>
            <p:nvPr userDrawn="1"/>
          </p:nvGrpSpPr>
          <p:grpSpPr bwMode="black">
            <a:xfrm>
              <a:off x="5619751" y="1679576"/>
              <a:ext cx="2038350" cy="300038"/>
              <a:chOff x="5619751" y="1679576"/>
              <a:chExt cx="2038350" cy="300038"/>
            </a:xfrm>
          </p:grpSpPr>
          <p:sp>
            <p:nvSpPr>
              <p:cNvPr id="120" name="Freeform 7"/>
              <p:cNvSpPr>
                <a:spLocks/>
              </p:cNvSpPr>
              <p:nvPr userDrawn="1"/>
            </p:nvSpPr>
            <p:spPr bwMode="black">
              <a:xfrm>
                <a:off x="6142038" y="1765301"/>
                <a:ext cx="185738" cy="209550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5" y="136"/>
                  </a:cxn>
                  <a:cxn ang="0">
                    <a:pos x="120" y="120"/>
                  </a:cxn>
                  <a:cxn ang="0">
                    <a:pos x="120" y="111"/>
                  </a:cxn>
                  <a:cxn ang="0">
                    <a:pos x="93" y="113"/>
                  </a:cxn>
                  <a:cxn ang="0">
                    <a:pos x="60" y="113"/>
                  </a:cxn>
                  <a:cxn ang="0">
                    <a:pos x="118" y="0"/>
                  </a:cxn>
                  <a:cxn ang="0">
                    <a:pos x="3" y="0"/>
                  </a:cxn>
                  <a:cxn ang="0">
                    <a:pos x="3" y="22"/>
                  </a:cxn>
                  <a:cxn ang="0">
                    <a:pos x="55" y="22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20" h="136">
                    <a:moveTo>
                      <a:pt x="2" y="136"/>
                    </a:moveTo>
                    <a:cubicBezTo>
                      <a:pt x="105" y="136"/>
                      <a:pt x="105" y="136"/>
                      <a:pt x="105" y="136"/>
                    </a:cubicBezTo>
                    <a:cubicBezTo>
                      <a:pt x="114" y="136"/>
                      <a:pt x="120" y="129"/>
                      <a:pt x="120" y="120"/>
                    </a:cubicBezTo>
                    <a:cubicBezTo>
                      <a:pt x="120" y="111"/>
                      <a:pt x="120" y="111"/>
                      <a:pt x="120" y="111"/>
                    </a:cubicBezTo>
                    <a:cubicBezTo>
                      <a:pt x="115" y="112"/>
                      <a:pt x="107" y="113"/>
                      <a:pt x="93" y="113"/>
                    </a:cubicBezTo>
                    <a:cubicBezTo>
                      <a:pt x="60" y="113"/>
                      <a:pt x="60" y="113"/>
                      <a:pt x="60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8"/>
              <p:cNvSpPr>
                <a:spLocks/>
              </p:cNvSpPr>
              <p:nvPr userDrawn="1"/>
            </p:nvSpPr>
            <p:spPr bwMode="black">
              <a:xfrm>
                <a:off x="5988051" y="1765301"/>
                <a:ext cx="142875" cy="209550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26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5" y="52"/>
                  </a:cxn>
                  <a:cxn ang="0">
                    <a:pos x="90" y="0"/>
                  </a:cxn>
                  <a:cxn ang="0">
                    <a:pos x="50" y="0"/>
                  </a:cxn>
                  <a:cxn ang="0">
                    <a:pos x="0" y="63"/>
                  </a:cxn>
                </a:cxnLst>
                <a:rect l="0" t="0" r="r" b="b"/>
                <a:pathLst>
                  <a:path w="92" h="136">
                    <a:moveTo>
                      <a:pt x="0" y="63"/>
                    </a:moveTo>
                    <a:cubicBezTo>
                      <a:pt x="26" y="115"/>
                      <a:pt x="26" y="115"/>
                      <a:pt x="26" y="115"/>
                    </a:cubicBezTo>
                    <a:cubicBezTo>
                      <a:pt x="34" y="129"/>
                      <a:pt x="37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89" y="134"/>
                      <a:pt x="87" y="131"/>
                      <a:pt x="84" y="124"/>
                    </a:cubicBezTo>
                    <a:cubicBezTo>
                      <a:pt x="45" y="52"/>
                      <a:pt x="45" y="52"/>
                      <a:pt x="45" y="52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50" y="0"/>
                      <a:pt x="50" y="0"/>
                      <a:pt x="50" y="0"/>
                    </a:cubicBezTo>
                    <a:lnTo>
                      <a:pt x="0" y="63"/>
                    </a:lnTo>
                    <a:close/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9"/>
              <p:cNvSpPr>
                <a:spLocks/>
              </p:cNvSpPr>
              <p:nvPr userDrawn="1"/>
            </p:nvSpPr>
            <p:spPr bwMode="black">
              <a:xfrm>
                <a:off x="5911851" y="1679576"/>
                <a:ext cx="71438" cy="295275"/>
              </a:xfrm>
              <a:custGeom>
                <a:avLst/>
                <a:gdLst/>
                <a:ahLst/>
                <a:cxnLst>
                  <a:cxn ang="0">
                    <a:pos x="0" y="191"/>
                  </a:cxn>
                  <a:cxn ang="0">
                    <a:pos x="47" y="191"/>
                  </a:cxn>
                  <a:cxn ang="0">
                    <a:pos x="47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1"/>
                  </a:cxn>
                </a:cxnLst>
                <a:rect l="0" t="0" r="r" b="b"/>
                <a:pathLst>
                  <a:path w="47" h="191">
                    <a:moveTo>
                      <a:pt x="0" y="191"/>
                    </a:moveTo>
                    <a:cubicBezTo>
                      <a:pt x="47" y="191"/>
                      <a:pt x="47" y="191"/>
                      <a:pt x="47" y="191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Freeform 10"/>
              <p:cNvSpPr>
                <a:spLocks noEditPoints="1"/>
              </p:cNvSpPr>
              <p:nvPr userDrawn="1"/>
            </p:nvSpPr>
            <p:spPr bwMode="black">
              <a:xfrm>
                <a:off x="5619751" y="1703388"/>
                <a:ext cx="268288" cy="271463"/>
              </a:xfrm>
              <a:custGeom>
                <a:avLst/>
                <a:gdLst/>
                <a:ahLst/>
                <a:cxnLst>
                  <a:cxn ang="0">
                    <a:pos x="169" y="163"/>
                  </a:cxn>
                  <a:cxn ang="0">
                    <a:pos x="122" y="24"/>
                  </a:cxn>
                  <a:cxn ang="0">
                    <a:pos x="88" y="0"/>
                  </a:cxn>
                  <a:cxn ang="0">
                    <a:pos x="66" y="0"/>
                  </a:cxn>
                  <a:cxn ang="0">
                    <a:pos x="0" y="176"/>
                  </a:cxn>
                  <a:cxn ang="0">
                    <a:pos x="30" y="176"/>
                  </a:cxn>
                  <a:cxn ang="0">
                    <a:pos x="45" y="132"/>
                  </a:cxn>
                  <a:cxn ang="0">
                    <a:pos x="108" y="132"/>
                  </a:cxn>
                  <a:cxn ang="0">
                    <a:pos x="117" y="160"/>
                  </a:cxn>
                  <a:cxn ang="0">
                    <a:pos x="135" y="175"/>
                  </a:cxn>
                  <a:cxn ang="0">
                    <a:pos x="175" y="175"/>
                  </a:cxn>
                  <a:cxn ang="0">
                    <a:pos x="169" y="163"/>
                  </a:cxn>
                  <a:cxn ang="0">
                    <a:pos x="52" y="111"/>
                  </a:cxn>
                  <a:cxn ang="0">
                    <a:pos x="77" y="37"/>
                  </a:cxn>
                  <a:cxn ang="0">
                    <a:pos x="101" y="111"/>
                  </a:cxn>
                  <a:cxn ang="0">
                    <a:pos x="52" y="111"/>
                  </a:cxn>
                </a:cxnLst>
                <a:rect l="0" t="0" r="r" b="b"/>
                <a:pathLst>
                  <a:path w="175" h="176">
                    <a:moveTo>
                      <a:pt x="169" y="163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7" y="7"/>
                      <a:pt x="111" y="0"/>
                      <a:pt x="88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30" y="176"/>
                      <a:pt x="30" y="176"/>
                      <a:pt x="30" y="176"/>
                    </a:cubicBezTo>
                    <a:cubicBezTo>
                      <a:pt x="45" y="132"/>
                      <a:pt x="45" y="132"/>
                      <a:pt x="45" y="132"/>
                    </a:cubicBezTo>
                    <a:cubicBezTo>
                      <a:pt x="108" y="132"/>
                      <a:pt x="108" y="132"/>
                      <a:pt x="108" y="132"/>
                    </a:cubicBezTo>
                    <a:cubicBezTo>
                      <a:pt x="117" y="160"/>
                      <a:pt x="117" y="160"/>
                      <a:pt x="117" y="160"/>
                    </a:cubicBezTo>
                    <a:cubicBezTo>
                      <a:pt x="120" y="171"/>
                      <a:pt x="124" y="175"/>
                      <a:pt x="135" y="175"/>
                    </a:cubicBezTo>
                    <a:cubicBezTo>
                      <a:pt x="175" y="175"/>
                      <a:pt x="175" y="175"/>
                      <a:pt x="175" y="175"/>
                    </a:cubicBezTo>
                    <a:cubicBezTo>
                      <a:pt x="173" y="174"/>
                      <a:pt x="172" y="170"/>
                      <a:pt x="169" y="163"/>
                    </a:cubicBezTo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1" y="111"/>
                      <a:pt x="101" y="111"/>
                      <a:pt x="101" y="111"/>
                    </a:cubicBezTo>
                    <a:lnTo>
                      <a:pt x="52" y="111"/>
                    </a:lnTo>
                    <a:close/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Freeform 11"/>
              <p:cNvSpPr>
                <a:spLocks noEditPoints="1"/>
              </p:cNvSpPr>
              <p:nvPr userDrawn="1"/>
            </p:nvSpPr>
            <p:spPr bwMode="black">
              <a:xfrm>
                <a:off x="6337301" y="1758951"/>
                <a:ext cx="222250" cy="220663"/>
              </a:xfrm>
              <a:custGeom>
                <a:avLst/>
                <a:gdLst/>
                <a:ahLst/>
                <a:cxnLst>
                  <a:cxn ang="0">
                    <a:pos x="72" y="143"/>
                  </a:cxn>
                  <a:cxn ang="0">
                    <a:pos x="144" y="69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3"/>
                  </a:cxn>
                  <a:cxn ang="0">
                    <a:pos x="73" y="118"/>
                  </a:cxn>
                  <a:cxn ang="0">
                    <a:pos x="51" y="71"/>
                  </a:cxn>
                  <a:cxn ang="0">
                    <a:pos x="73" y="25"/>
                  </a:cxn>
                  <a:cxn ang="0">
                    <a:pos x="94" y="73"/>
                  </a:cxn>
                  <a:cxn ang="0">
                    <a:pos x="73" y="118"/>
                  </a:cxn>
                </a:cxnLst>
                <a:rect l="0" t="0" r="r" b="b"/>
                <a:pathLst>
                  <a:path w="144" h="143">
                    <a:moveTo>
                      <a:pt x="72" y="143"/>
                    </a:moveTo>
                    <a:cubicBezTo>
                      <a:pt x="111" y="143"/>
                      <a:pt x="144" y="115"/>
                      <a:pt x="144" y="69"/>
                    </a:cubicBezTo>
                    <a:cubicBezTo>
                      <a:pt x="144" y="29"/>
                      <a:pt x="113" y="0"/>
                      <a:pt x="73" y="0"/>
                    </a:cubicBezTo>
                    <a:cubicBezTo>
                      <a:pt x="33" y="0"/>
                      <a:pt x="0" y="29"/>
                      <a:pt x="0" y="75"/>
                    </a:cubicBezTo>
                    <a:cubicBezTo>
                      <a:pt x="0" y="116"/>
                      <a:pt x="33" y="143"/>
                      <a:pt x="72" y="143"/>
                    </a:cubicBezTo>
                    <a:moveTo>
                      <a:pt x="73" y="118"/>
                    </a:moveTo>
                    <a:cubicBezTo>
                      <a:pt x="57" y="118"/>
                      <a:pt x="51" y="100"/>
                      <a:pt x="51" y="71"/>
                    </a:cubicBezTo>
                    <a:cubicBezTo>
                      <a:pt x="51" y="43"/>
                      <a:pt x="57" y="25"/>
                      <a:pt x="73" y="25"/>
                    </a:cubicBezTo>
                    <a:cubicBezTo>
                      <a:pt x="89" y="25"/>
                      <a:pt x="94" y="44"/>
                      <a:pt x="94" y="73"/>
                    </a:cubicBezTo>
                    <a:cubicBezTo>
                      <a:pt x="94" y="100"/>
                      <a:pt x="89" y="118"/>
                      <a:pt x="73" y="118"/>
                    </a:cubicBezTo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12"/>
              <p:cNvSpPr>
                <a:spLocks/>
              </p:cNvSpPr>
              <p:nvPr userDrawn="1"/>
            </p:nvSpPr>
            <p:spPr bwMode="black">
              <a:xfrm>
                <a:off x="6592888" y="1701801"/>
                <a:ext cx="238125" cy="273050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29" y="177"/>
                  </a:cxn>
                  <a:cxn ang="0">
                    <a:pos x="29" y="64"/>
                  </a:cxn>
                  <a:cxn ang="0">
                    <a:pos x="104" y="154"/>
                  </a:cxn>
                  <a:cxn ang="0">
                    <a:pos x="132" y="177"/>
                  </a:cxn>
                  <a:cxn ang="0">
                    <a:pos x="154" y="177"/>
                  </a:cxn>
                  <a:cxn ang="0">
                    <a:pos x="154" y="15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6"/>
                  </a:cxn>
                  <a:cxn ang="0">
                    <a:pos x="53" y="21"/>
                  </a:cxn>
                  <a:cxn ang="0">
                    <a:pos x="21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29" y="177"/>
                      <a:pt x="29" y="177"/>
                      <a:pt x="29" y="177"/>
                    </a:cubicBezTo>
                    <a:cubicBezTo>
                      <a:pt x="29" y="64"/>
                      <a:pt x="29" y="64"/>
                      <a:pt x="29" y="64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4" y="167"/>
                      <a:pt x="121" y="177"/>
                      <a:pt x="132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5"/>
                      <a:pt x="154" y="15"/>
                      <a:pt x="154" y="15"/>
                    </a:cubicBezTo>
                    <a:cubicBezTo>
                      <a:pt x="154" y="6"/>
                      <a:pt x="147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53" y="21"/>
                      <a:pt x="53" y="21"/>
                      <a:pt x="53" y="21"/>
                    </a:cubicBezTo>
                    <a:cubicBezTo>
                      <a:pt x="42" y="8"/>
                      <a:pt x="37" y="0"/>
                      <a:pt x="2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7"/>
                    </a:lnTo>
                    <a:close/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13"/>
              <p:cNvSpPr>
                <a:spLocks noEditPoints="1"/>
              </p:cNvSpPr>
              <p:nvPr userDrawn="1"/>
            </p:nvSpPr>
            <p:spPr bwMode="black">
              <a:xfrm>
                <a:off x="6861176" y="1758951"/>
                <a:ext cx="222250" cy="220663"/>
              </a:xfrm>
              <a:custGeom>
                <a:avLst/>
                <a:gdLst/>
                <a:ahLst/>
                <a:cxnLst>
                  <a:cxn ang="0">
                    <a:pos x="72" y="143"/>
                  </a:cxn>
                  <a:cxn ang="0">
                    <a:pos x="144" y="69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2" y="143"/>
                  </a:cxn>
                  <a:cxn ang="0">
                    <a:pos x="72" y="118"/>
                  </a:cxn>
                  <a:cxn ang="0">
                    <a:pos x="50" y="71"/>
                  </a:cxn>
                  <a:cxn ang="0">
                    <a:pos x="72" y="25"/>
                  </a:cxn>
                  <a:cxn ang="0">
                    <a:pos x="93" y="73"/>
                  </a:cxn>
                  <a:cxn ang="0">
                    <a:pos x="72" y="118"/>
                  </a:cxn>
                </a:cxnLst>
                <a:rect l="0" t="0" r="r" b="b"/>
                <a:pathLst>
                  <a:path w="144" h="143">
                    <a:moveTo>
                      <a:pt x="72" y="143"/>
                    </a:moveTo>
                    <a:cubicBezTo>
                      <a:pt x="111" y="143"/>
                      <a:pt x="144" y="115"/>
                      <a:pt x="144" y="69"/>
                    </a:cubicBezTo>
                    <a:cubicBezTo>
                      <a:pt x="144" y="29"/>
                      <a:pt x="112" y="0"/>
                      <a:pt x="72" y="0"/>
                    </a:cubicBezTo>
                    <a:cubicBezTo>
                      <a:pt x="33" y="0"/>
                      <a:pt x="0" y="29"/>
                      <a:pt x="0" y="75"/>
                    </a:cubicBezTo>
                    <a:cubicBezTo>
                      <a:pt x="0" y="116"/>
                      <a:pt x="33" y="143"/>
                      <a:pt x="72" y="143"/>
                    </a:cubicBezTo>
                    <a:moveTo>
                      <a:pt x="72" y="118"/>
                    </a:moveTo>
                    <a:cubicBezTo>
                      <a:pt x="56" y="118"/>
                      <a:pt x="50" y="100"/>
                      <a:pt x="50" y="71"/>
                    </a:cubicBezTo>
                    <a:cubicBezTo>
                      <a:pt x="50" y="43"/>
                      <a:pt x="56" y="25"/>
                      <a:pt x="72" y="25"/>
                    </a:cubicBezTo>
                    <a:cubicBezTo>
                      <a:pt x="88" y="25"/>
                      <a:pt x="93" y="45"/>
                      <a:pt x="93" y="73"/>
                    </a:cubicBezTo>
                    <a:cubicBezTo>
                      <a:pt x="93" y="100"/>
                      <a:pt x="88" y="118"/>
                      <a:pt x="72" y="118"/>
                    </a:cubicBezTo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14"/>
              <p:cNvSpPr>
                <a:spLocks noEditPoints="1"/>
              </p:cNvSpPr>
              <p:nvPr userDrawn="1"/>
            </p:nvSpPr>
            <p:spPr bwMode="black">
              <a:xfrm>
                <a:off x="7350126" y="1760538"/>
                <a:ext cx="206375" cy="219075"/>
              </a:xfrm>
              <a:custGeom>
                <a:avLst/>
                <a:gdLst/>
                <a:ahLst/>
                <a:cxnLst>
                  <a:cxn ang="0">
                    <a:pos x="134" y="73"/>
                  </a:cxn>
                  <a:cxn ang="0">
                    <a:pos x="135" y="57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9" y="142"/>
                  </a:cxn>
                  <a:cxn ang="0">
                    <a:pos x="128" y="99"/>
                  </a:cxn>
                  <a:cxn ang="0">
                    <a:pos x="89" y="109"/>
                  </a:cxn>
                  <a:cxn ang="0">
                    <a:pos x="47" y="73"/>
                  </a:cxn>
                  <a:cxn ang="0">
                    <a:pos x="134" y="73"/>
                  </a:cxn>
                  <a:cxn ang="0">
                    <a:pos x="47" y="54"/>
                  </a:cxn>
                  <a:cxn ang="0">
                    <a:pos x="70" y="22"/>
                  </a:cxn>
                  <a:cxn ang="0">
                    <a:pos x="92" y="54"/>
                  </a:cxn>
                  <a:cxn ang="0">
                    <a:pos x="47" y="54"/>
                  </a:cxn>
                </a:cxnLst>
                <a:rect l="0" t="0" r="r" b="b"/>
                <a:pathLst>
                  <a:path w="135" h="142">
                    <a:moveTo>
                      <a:pt x="134" y="73"/>
                    </a:moveTo>
                    <a:cubicBezTo>
                      <a:pt x="135" y="68"/>
                      <a:pt x="135" y="62"/>
                      <a:pt x="135" y="57"/>
                    </a:cubicBezTo>
                    <a:cubicBezTo>
                      <a:pt x="135" y="25"/>
                      <a:pt x="111" y="0"/>
                      <a:pt x="70" y="0"/>
                    </a:cubicBezTo>
                    <a:cubicBezTo>
                      <a:pt x="30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9" y="142"/>
                    </a:cubicBezTo>
                    <a:cubicBezTo>
                      <a:pt x="111" y="142"/>
                      <a:pt x="127" y="120"/>
                      <a:pt x="128" y="99"/>
                    </a:cubicBezTo>
                    <a:cubicBezTo>
                      <a:pt x="118" y="105"/>
                      <a:pt x="104" y="109"/>
                      <a:pt x="89" y="109"/>
                    </a:cubicBezTo>
                    <a:cubicBezTo>
                      <a:pt x="65" y="109"/>
                      <a:pt x="50" y="95"/>
                      <a:pt x="47" y="73"/>
                    </a:cubicBezTo>
                    <a:lnTo>
                      <a:pt x="134" y="73"/>
                    </a:lnTo>
                    <a:close/>
                    <a:moveTo>
                      <a:pt x="47" y="54"/>
                    </a:moveTo>
                    <a:cubicBezTo>
                      <a:pt x="49" y="35"/>
                      <a:pt x="57" y="22"/>
                      <a:pt x="70" y="22"/>
                    </a:cubicBezTo>
                    <a:cubicBezTo>
                      <a:pt x="88" y="22"/>
                      <a:pt x="92" y="54"/>
                      <a:pt x="92" y="54"/>
                    </a:cubicBezTo>
                    <a:lnTo>
                      <a:pt x="47" y="54"/>
                    </a:lnTo>
                    <a:close/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Freeform 15"/>
              <p:cNvSpPr>
                <a:spLocks noEditPoints="1"/>
              </p:cNvSpPr>
              <p:nvPr userDrawn="1"/>
            </p:nvSpPr>
            <p:spPr bwMode="black">
              <a:xfrm>
                <a:off x="7113588" y="1679576"/>
                <a:ext cx="211138" cy="295275"/>
              </a:xfrm>
              <a:custGeom>
                <a:avLst/>
                <a:gdLst/>
                <a:ahLst/>
                <a:cxnLst>
                  <a:cxn ang="0">
                    <a:pos x="83" y="53"/>
                  </a:cxn>
                  <a:cxn ang="0">
                    <a:pos x="47" y="65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1"/>
                  </a:cxn>
                  <a:cxn ang="0">
                    <a:pos x="55" y="191"/>
                  </a:cxn>
                  <a:cxn ang="0">
                    <a:pos x="137" y="112"/>
                  </a:cxn>
                  <a:cxn ang="0">
                    <a:pos x="83" y="53"/>
                  </a:cxn>
                  <a:cxn ang="0">
                    <a:pos x="54" y="168"/>
                  </a:cxn>
                  <a:cxn ang="0">
                    <a:pos x="47" y="168"/>
                  </a:cxn>
                  <a:cxn ang="0">
                    <a:pos x="47" y="80"/>
                  </a:cxn>
                  <a:cxn ang="0">
                    <a:pos x="57" y="80"/>
                  </a:cxn>
                  <a:cxn ang="0">
                    <a:pos x="88" y="118"/>
                  </a:cxn>
                  <a:cxn ang="0">
                    <a:pos x="54" y="168"/>
                  </a:cxn>
                </a:cxnLst>
                <a:rect l="0" t="0" r="r" b="b"/>
                <a:pathLst>
                  <a:path w="137" h="191">
                    <a:moveTo>
                      <a:pt x="83" y="53"/>
                    </a:moveTo>
                    <a:cubicBezTo>
                      <a:pt x="67" y="53"/>
                      <a:pt x="53" y="59"/>
                      <a:pt x="47" y="65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1"/>
                      <a:pt x="0" y="191"/>
                      <a:pt x="0" y="191"/>
                    </a:cubicBezTo>
                    <a:cubicBezTo>
                      <a:pt x="55" y="191"/>
                      <a:pt x="55" y="191"/>
                      <a:pt x="55" y="191"/>
                    </a:cubicBezTo>
                    <a:cubicBezTo>
                      <a:pt x="107" y="191"/>
                      <a:pt x="137" y="163"/>
                      <a:pt x="137" y="112"/>
                    </a:cubicBezTo>
                    <a:cubicBezTo>
                      <a:pt x="137" y="78"/>
                      <a:pt x="113" y="53"/>
                      <a:pt x="83" y="53"/>
                    </a:cubicBezTo>
                    <a:moveTo>
                      <a:pt x="54" y="168"/>
                    </a:moveTo>
                    <a:cubicBezTo>
                      <a:pt x="47" y="168"/>
                      <a:pt x="47" y="168"/>
                      <a:pt x="47" y="168"/>
                    </a:cubicBezTo>
                    <a:cubicBezTo>
                      <a:pt x="47" y="80"/>
                      <a:pt x="47" y="80"/>
                      <a:pt x="47" y="80"/>
                    </a:cubicBezTo>
                    <a:cubicBezTo>
                      <a:pt x="50" y="80"/>
                      <a:pt x="52" y="80"/>
                      <a:pt x="57" y="80"/>
                    </a:cubicBezTo>
                    <a:cubicBezTo>
                      <a:pt x="75" y="80"/>
                      <a:pt x="88" y="96"/>
                      <a:pt x="88" y="118"/>
                    </a:cubicBezTo>
                    <a:cubicBezTo>
                      <a:pt x="88" y="151"/>
                      <a:pt x="76" y="168"/>
                      <a:pt x="54" y="168"/>
                    </a:cubicBezTo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16"/>
              <p:cNvSpPr>
                <a:spLocks/>
              </p:cNvSpPr>
              <p:nvPr userDrawn="1"/>
            </p:nvSpPr>
            <p:spPr bwMode="black">
              <a:xfrm>
                <a:off x="7588251" y="1679576"/>
                <a:ext cx="69850" cy="295275"/>
              </a:xfrm>
              <a:custGeom>
                <a:avLst/>
                <a:gdLst/>
                <a:ahLst/>
                <a:cxnLst>
                  <a:cxn ang="0">
                    <a:pos x="0" y="191"/>
                  </a:cxn>
                  <a:cxn ang="0">
                    <a:pos x="46" y="191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1"/>
                  </a:cxn>
                </a:cxnLst>
                <a:rect l="0" t="0" r="r" b="b"/>
                <a:pathLst>
                  <a:path w="46" h="191">
                    <a:moveTo>
                      <a:pt x="0" y="191"/>
                    </a:moveTo>
                    <a:cubicBezTo>
                      <a:pt x="46" y="191"/>
                      <a:pt x="46" y="191"/>
                      <a:pt x="46" y="191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00519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3" name="Title 1"/>
          <p:cNvSpPr>
            <a:spLocks noGrp="1"/>
          </p:cNvSpPr>
          <p:nvPr>
            <p:ph type="ctrTitle"/>
          </p:nvPr>
        </p:nvSpPr>
        <p:spPr>
          <a:xfrm>
            <a:off x="359999" y="360000"/>
            <a:ext cx="7298102" cy="10878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063124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6600" y="361957"/>
            <a:ext cx="6845300" cy="7413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06600" y="1217617"/>
            <a:ext cx="6845300" cy="5011737"/>
          </a:xfrm>
        </p:spPr>
        <p:txBody>
          <a:bodyPr/>
          <a:lstStyle/>
          <a:p>
            <a:pPr lvl="0"/>
            <a:endParaRPr lang="pl-PL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01839" y="6410325"/>
            <a:ext cx="6494462" cy="25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>
                <a:solidFill>
                  <a:srgbClr val="868688"/>
                </a:solidFill>
              </a:rPr>
              <a:t>Strategy Update 2013</a:t>
            </a:r>
            <a:endParaRPr lang="en-GB">
              <a:solidFill>
                <a:srgbClr val="868688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483600" y="6410336"/>
            <a:ext cx="300038" cy="252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64AB9-7D2A-446D-B936-5562DEBEE9E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36246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0148"/>
            <a:ext cx="8424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8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956705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0148"/>
            <a:ext cx="8424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8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57790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55" name="Freeform 5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1" name="Picture Placeholder 70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6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3" name="Straight Arrow Connector 5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6" idx="0"/>
              <a:endCxn id="4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46" idx="3"/>
              <a:endCxn id="4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9619558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4" y="1298829"/>
            <a:ext cx="6292101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6793575" y="1298832"/>
            <a:ext cx="2350426" cy="4703999"/>
          </a:xfrm>
          <a:noFill/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3003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1" y="1298829"/>
            <a:ext cx="6644525" cy="4704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8152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&amp; statistics">
    <p:bg bwMode="gray">
      <p:bgPr>
        <a:solidFill>
          <a:srgbClr val="B9C9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hoek 1"/>
          <p:cNvSpPr/>
          <p:nvPr/>
        </p:nvSpPr>
        <p:spPr bwMode="gray">
          <a:xfrm>
            <a:off x="4651575" y="1295400"/>
            <a:ext cx="4140000" cy="2256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6" name="Rechthoek 1"/>
          <p:cNvSpPr/>
          <p:nvPr/>
        </p:nvSpPr>
        <p:spPr bwMode="gray">
          <a:xfrm>
            <a:off x="352425" y="1295401"/>
            <a:ext cx="4140000" cy="4718049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4" name="Rechthoek 1"/>
          <p:cNvSpPr/>
          <p:nvPr/>
        </p:nvSpPr>
        <p:spPr bwMode="gray">
          <a:xfrm>
            <a:off x="4651575" y="3757451"/>
            <a:ext cx="4140000" cy="2256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95008" y="1479385"/>
            <a:ext cx="3854836" cy="4327564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794158" y="1791188"/>
            <a:ext cx="3854836" cy="1567760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794158" y="4257473"/>
            <a:ext cx="3854836" cy="1567761"/>
          </a:xfrm>
        </p:spPr>
        <p:txBody>
          <a:bodyPr/>
          <a:lstStyle>
            <a:lvl1pPr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30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5317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10" name="Title Heading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94158" y="1479385"/>
            <a:ext cx="3854835" cy="26263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/>
            </a:lvl1pPr>
          </a:lstStyle>
          <a:p>
            <a:pPr lvl="0"/>
            <a:r>
              <a:rPr lang="en-US"/>
              <a:t>Edit heading</a:t>
            </a:r>
            <a:endParaRPr lang="en-GB"/>
          </a:p>
        </p:txBody>
      </p:sp>
      <p:sp>
        <p:nvSpPr>
          <p:cNvPr id="40" name="Title Heading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94158" y="3945669"/>
            <a:ext cx="3854835" cy="26263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00" b="1"/>
            </a:lvl1pPr>
          </a:lstStyle>
          <a:p>
            <a:pPr lvl="0"/>
            <a:r>
              <a:rPr lang="en-US"/>
              <a:t>Edit heading</a:t>
            </a:r>
            <a:endParaRPr lang="en-GB"/>
          </a:p>
        </p:txBody>
      </p:sp>
      <p:grpSp>
        <p:nvGrpSpPr>
          <p:cNvPr id="4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48" name="Freeform 4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2" name="Group 41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43" name="Straight Connector 42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9288780" y="182684"/>
            <a:ext cx="1501140" cy="11876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>
                <a:solidFill>
                  <a:schemeClr val="tx1"/>
                </a:solidFill>
              </a:rPr>
              <a:t>  is ticked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38" name="Pentagon 28"/>
          <p:cNvSpPr/>
          <p:nvPr userDrawn="1"/>
        </p:nvSpPr>
        <p:spPr bwMode="gray">
          <a:xfrm>
            <a:off x="-1" y="6243917"/>
            <a:ext cx="1734798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41" name="Picture 8" descr="C:\Users\shustron\Desktop\Лого SalesCon2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217" y="6329902"/>
            <a:ext cx="1347386" cy="44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83815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99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0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3" name="Rectangle 52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1" name="Rectangle 6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2" name="Rectangle 6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3" name="Straight Arrow Connector 6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55" idx="0"/>
              <a:endCxn id="5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5" idx="3"/>
              <a:endCxn id="5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Oval 6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50178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blue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32" name="Freeform 3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Picture Placeholder 57"/>
          <p:cNvSpPr>
            <a:spLocks noGrp="1"/>
          </p:cNvSpPr>
          <p:nvPr>
            <p:ph type="pic" sz="quarter" idx="18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4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5" name="Objec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4" name="Rectangle 5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55" name="Rectangle 5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2" name="Rectangle 61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3" name="Rectangle 62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4" name="Straight Arrow Connector 6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6" idx="0"/>
              <a:endCxn id="5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stCxn id="56" idx="3"/>
              <a:endCxn id="5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893946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8" name="think-cell Slide" r:id="rId4" imgW="357" imgH="357" progId="TCLayout.ActiveDocument.1">
                  <p:embed/>
                </p:oleObj>
              </mc:Choice>
              <mc:Fallback>
                <p:oleObj name="think-cell Slide" r:id="rId4" imgW="357" imgH="357" progId="TCLayout.ActiveDocument.1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0" name="Freeform 29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2" name="Footer Placeholder 1"/>
          <p:cNvSpPr>
            <a:spLocks noGrp="1"/>
          </p:cNvSpPr>
          <p:nvPr userDrawn="1">
            <p:ph type="ftr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2425" y="1260883"/>
            <a:ext cx="8439150" cy="480336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  <a:lvl2pPr marL="719138" indent="-719138">
              <a:lnSpc>
                <a:spcPct val="90000"/>
              </a:lnSpc>
              <a:spcBef>
                <a:spcPts val="0"/>
              </a:spcBef>
              <a:buFontTx/>
              <a:buBlip>
                <a:blip r:embed="rId6"/>
              </a:buBlip>
              <a:defRPr sz="5400" b="1">
                <a:solidFill>
                  <a:schemeClr val="bg1"/>
                </a:solidFill>
              </a:defRPr>
            </a:lvl2pPr>
            <a:lvl3pPr marL="1255713" indent="-53657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3pPr>
            <a:lvl4pPr marL="1792288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4pPr>
            <a:lvl5pPr marL="2328863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25" name="Picture 8" descr="C:\Users\shustron\Desktop\Лого SalesCon2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217" y="6329902"/>
            <a:ext cx="1347386" cy="44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7838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53" name="Freeform 5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0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1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2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0" name="Picture Placeholder 69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4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10 w 9143999"/>
              <a:gd name="connsiteY55" fmla="*/ 341985 h 6859200"/>
              <a:gd name="connsiteX56" fmla="*/ 6427458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30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50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10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4" y="547300"/>
                  <a:pt x="6601024" y="547300"/>
                  <a:pt x="6601024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10" y="341985"/>
                </a:moveTo>
                <a:cubicBezTo>
                  <a:pt x="6427458" y="657368"/>
                  <a:pt x="6427458" y="657368"/>
                  <a:pt x="6427458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30" y="628696"/>
                  <a:pt x="6630630" y="628696"/>
                  <a:pt x="6630630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50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30" y="358368"/>
                  <a:pt x="6618190" y="341985"/>
                  <a:pt x="6580873" y="341985"/>
                </a:cubicBezTo>
                <a:cubicBezTo>
                  <a:pt x="6539410" y="341985"/>
                  <a:pt x="6539410" y="341985"/>
                  <a:pt x="6539410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8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6337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sp>
        <p:nvSpPr>
          <p:cNvPr id="7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1742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8" name="Rectangle 57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67" idx="0"/>
              <a:endCxn id="67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67" idx="3"/>
              <a:endCxn id="67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21546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/>
      <p:bldP spid="78" grpId="0"/>
      <p:bldP spid="79" grpId="0"/>
      <p:bldP spid="80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2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2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5688000" cy="600710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6" name="Rectangle 45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3" name="Rectangle 52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7" name="Rectangle 66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4" name="Straight Arrow Connector 7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>
              <a:stCxn id="48" idx="0"/>
              <a:endCxn id="4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8" idx="3"/>
              <a:endCxn id="4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7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694603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  <p:bldP spid="58" grpId="0"/>
      <p:bldP spid="59" grpId="0"/>
      <p:bldP spid="60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6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280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67" name="Rectangle 6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75" idx="0"/>
              <a:endCxn id="7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75" idx="3"/>
              <a:endCxn id="7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003244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/>
      <p:bldP spid="58" grpId="0"/>
      <p:bldP spid="59" grpId="0"/>
      <p:bldP spid="60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63" name="Freeform 62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7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4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4" y="657368"/>
                  <a:pt x="6477214" y="657368"/>
                  <a:pt x="6477214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00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122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95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83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722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60750" y="3138422"/>
            <a:ext cx="2088000" cy="2088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792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0677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3562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644750" y="4404030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7" name="Rectangle 4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7" name="Rectangle 5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5" name="Straight Arrow Connector 7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9" idx="0"/>
              <a:endCxn id="49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>
              <a:stCxn id="49" idx="3"/>
              <a:endCxn id="49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05024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/>
      <p:bldP spid="59" grpId="0"/>
      <p:bldP spid="60" grpId="0"/>
      <p:bldP spid="61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62"/>
          <p:cNvGrpSpPr/>
          <p:nvPr/>
        </p:nvGrpSpPr>
        <p:grpSpPr bwMode="gray">
          <a:xfrm>
            <a:off x="826809" y="1296099"/>
            <a:ext cx="7964767" cy="4084544"/>
            <a:chOff x="813530" y="1454889"/>
            <a:chExt cx="7970470" cy="2993966"/>
          </a:xfrm>
        </p:grpSpPr>
        <p:sp>
          <p:nvSpPr>
            <p:cNvPr id="16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17" name="Straight Connector 16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/>
          <p:cNvGrpSpPr/>
          <p:nvPr/>
        </p:nvGrpSpPr>
        <p:grpSpPr bwMode="gray">
          <a:xfrm>
            <a:off x="480060" y="1296634"/>
            <a:ext cx="8335003" cy="4416888"/>
            <a:chOff x="452334" y="1227538"/>
            <a:chExt cx="8355212" cy="3312666"/>
          </a:xfrm>
        </p:grpSpPr>
        <p:cxnSp>
          <p:nvCxnSpPr>
            <p:cNvPr id="8" name="Straight Arrow Connector 7"/>
            <p:cNvCxnSpPr/>
            <p:nvPr/>
          </p:nvCxnSpPr>
          <p:spPr bwMode="gray">
            <a:xfrm>
              <a:off x="452334" y="4540204"/>
              <a:ext cx="8321728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 bwMode="gray">
            <a:xfrm flipV="1">
              <a:off x="452334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 bwMode="gray">
            <a:xfrm>
              <a:off x="493132" y="1227538"/>
              <a:ext cx="27960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8527946" y="4315976"/>
              <a:ext cx="27960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552586" y="4315976"/>
              <a:ext cx="160689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--</a:t>
              </a:r>
              <a:endParaRPr lang="en-US" sz="1867" dirty="0"/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5274" y="2156158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0626" y="5593184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4"/>
          </p:nvPr>
        </p:nvSpPr>
        <p:spPr bwMode="gray">
          <a:xfrm>
            <a:off x="820527" y="1296627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Text Placeholder 30"/>
          <p:cNvSpPr>
            <a:spLocks noGrp="1"/>
          </p:cNvSpPr>
          <p:nvPr>
            <p:ph type="body" sz="quarter" idx="19"/>
          </p:nvPr>
        </p:nvSpPr>
        <p:spPr bwMode="gray">
          <a:xfrm>
            <a:off x="4808168" y="1296627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6" name="Text Placeholder 30"/>
          <p:cNvSpPr>
            <a:spLocks noGrp="1"/>
          </p:cNvSpPr>
          <p:nvPr>
            <p:ph type="body" sz="quarter" idx="20"/>
          </p:nvPr>
        </p:nvSpPr>
        <p:spPr bwMode="gray">
          <a:xfrm>
            <a:off x="820527" y="3339235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7" name="Text Placeholder 30"/>
          <p:cNvSpPr>
            <a:spLocks noGrp="1"/>
          </p:cNvSpPr>
          <p:nvPr>
            <p:ph type="body" sz="quarter" idx="21"/>
          </p:nvPr>
        </p:nvSpPr>
        <p:spPr bwMode="gray">
          <a:xfrm>
            <a:off x="4808168" y="3339235"/>
            <a:ext cx="3978000" cy="2041408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800"/>
            </a:lvl1pPr>
            <a:lvl2pPr marL="239178" indent="-239178"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7058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 bwMode="gray">
          <a:xfrm>
            <a:off x="2618071" y="1296099"/>
            <a:ext cx="6195029" cy="4416888"/>
            <a:chOff x="3335008" y="1227538"/>
            <a:chExt cx="5473136" cy="3312666"/>
          </a:xfrm>
        </p:grpSpPr>
        <p:cxnSp>
          <p:nvCxnSpPr>
            <p:cNvPr id="23" name="Straight Arrow Connector 22"/>
            <p:cNvCxnSpPr/>
            <p:nvPr/>
          </p:nvCxnSpPr>
          <p:spPr bwMode="gray"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/>
            <p:cNvSpPr/>
            <p:nvPr/>
          </p:nvSpPr>
          <p:spPr bwMode="gray">
            <a:xfrm>
              <a:off x="3355442" y="1227538"/>
              <a:ext cx="246422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8561722" y="4315976"/>
              <a:ext cx="246422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3407841" y="4315976"/>
              <a:ext cx="141621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--</a:t>
              </a:r>
              <a:endParaRPr lang="en-US" sz="1867" dirty="0"/>
            </a:p>
          </p:txBody>
        </p:sp>
        <p:cxnSp>
          <p:nvCxnSpPr>
            <p:cNvPr id="30" name="Straight Arrow Connector 29"/>
            <p:cNvCxnSpPr/>
            <p:nvPr/>
          </p:nvCxnSpPr>
          <p:spPr bwMode="gray"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62"/>
          <p:cNvGrpSpPr/>
          <p:nvPr/>
        </p:nvGrpSpPr>
        <p:grpSpPr bwMode="gray">
          <a:xfrm>
            <a:off x="2934432" y="1295564"/>
            <a:ext cx="5857144" cy="4084544"/>
            <a:chOff x="813530" y="1454889"/>
            <a:chExt cx="7970470" cy="2993966"/>
          </a:xfrm>
        </p:grpSpPr>
        <p:sp>
          <p:nvSpPr>
            <p:cNvPr id="32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33" name="Straight Connector 32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03124" y="2155623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591483" y="5592649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21972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grpSp>
        <p:nvGrpSpPr>
          <p:cNvPr id="36" name="Group 35"/>
          <p:cNvGrpSpPr/>
          <p:nvPr/>
        </p:nvGrpSpPr>
        <p:grpSpPr bwMode="gray">
          <a:xfrm>
            <a:off x="479236" y="1296099"/>
            <a:ext cx="6186968" cy="4416888"/>
            <a:chOff x="3335008" y="1227538"/>
            <a:chExt cx="5473299" cy="3312666"/>
          </a:xfrm>
        </p:grpSpPr>
        <p:cxnSp>
          <p:nvCxnSpPr>
            <p:cNvPr id="37" name="Straight Arrow Connector 36"/>
            <p:cNvCxnSpPr/>
            <p:nvPr/>
          </p:nvCxnSpPr>
          <p:spPr bwMode="gray">
            <a:xfrm flipV="1">
              <a:off x="3335260" y="1228204"/>
              <a:ext cx="0" cy="331200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 bwMode="gray">
            <a:xfrm>
              <a:off x="3392482" y="1227538"/>
              <a:ext cx="24675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561557" y="4315976"/>
              <a:ext cx="246750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++</a:t>
              </a:r>
              <a:endParaRPr lang="en-US" sz="1867" dirty="0"/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3444952" y="4315976"/>
              <a:ext cx="141809" cy="21549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867" dirty="0"/>
                <a:t>--</a:t>
              </a:r>
              <a:endParaRPr lang="en-US" sz="1867" dirty="0"/>
            </a:p>
          </p:txBody>
        </p:sp>
        <p:cxnSp>
          <p:nvCxnSpPr>
            <p:cNvPr id="41" name="Straight Arrow Connector 40"/>
            <p:cNvCxnSpPr/>
            <p:nvPr/>
          </p:nvCxnSpPr>
          <p:spPr bwMode="gray">
            <a:xfrm>
              <a:off x="3335008" y="4540204"/>
              <a:ext cx="5448993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62"/>
          <p:cNvGrpSpPr/>
          <p:nvPr/>
        </p:nvGrpSpPr>
        <p:grpSpPr bwMode="gray">
          <a:xfrm>
            <a:off x="791308" y="1295564"/>
            <a:ext cx="5853217" cy="4084544"/>
            <a:chOff x="813530" y="1454889"/>
            <a:chExt cx="7970470" cy="2993966"/>
          </a:xfrm>
        </p:grpSpPr>
        <p:sp>
          <p:nvSpPr>
            <p:cNvPr id="43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44" name="Straight Connector 43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5274" y="2155623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7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48360" y="5592649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5267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Arrow Connector 38"/>
          <p:cNvCxnSpPr/>
          <p:nvPr/>
        </p:nvCxnSpPr>
        <p:spPr bwMode="gray">
          <a:xfrm>
            <a:off x="4756364" y="5713520"/>
            <a:ext cx="403185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35" name="Straight Arrow Connector 34"/>
          <p:cNvCxnSpPr/>
          <p:nvPr/>
        </p:nvCxnSpPr>
        <p:spPr bwMode="gray">
          <a:xfrm flipV="1">
            <a:off x="4756363" y="1297520"/>
            <a:ext cx="0" cy="441600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 bwMode="gray">
          <a:xfrm>
            <a:off x="4797499" y="1296634"/>
            <a:ext cx="278924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/>
              <a:t>++</a:t>
            </a:r>
            <a:endParaRPr lang="en-US" sz="1867" dirty="0"/>
          </a:p>
        </p:txBody>
      </p:sp>
      <p:sp>
        <p:nvSpPr>
          <p:cNvPr id="37" name="Rectangle 36"/>
          <p:cNvSpPr/>
          <p:nvPr/>
        </p:nvSpPr>
        <p:spPr bwMode="gray">
          <a:xfrm>
            <a:off x="8551489" y="5414551"/>
            <a:ext cx="278924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/>
              <a:t>++</a:t>
            </a:r>
            <a:endParaRPr lang="en-US" sz="1867" dirty="0"/>
          </a:p>
        </p:txBody>
      </p:sp>
      <p:sp>
        <p:nvSpPr>
          <p:cNvPr id="38" name="Rectangle 37"/>
          <p:cNvSpPr/>
          <p:nvPr/>
        </p:nvSpPr>
        <p:spPr bwMode="gray">
          <a:xfrm>
            <a:off x="4856811" y="5414551"/>
            <a:ext cx="160300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867" dirty="0"/>
              <a:t>--</a:t>
            </a:r>
            <a:endParaRPr lang="en-US" sz="1867" dirty="0"/>
          </a:p>
        </p:txBody>
      </p:sp>
      <p:grpSp>
        <p:nvGrpSpPr>
          <p:cNvPr id="40" name="Group 62"/>
          <p:cNvGrpSpPr/>
          <p:nvPr/>
        </p:nvGrpSpPr>
        <p:grpSpPr bwMode="gray">
          <a:xfrm>
            <a:off x="5117593" y="1296097"/>
            <a:ext cx="3677553" cy="4084544"/>
            <a:chOff x="813530" y="1454889"/>
            <a:chExt cx="7970470" cy="2993966"/>
          </a:xfrm>
        </p:grpSpPr>
        <p:sp>
          <p:nvSpPr>
            <p:cNvPr id="41" name="Rectangle 499"/>
            <p:cNvSpPr>
              <a:spLocks noChangeArrowheads="1"/>
            </p:cNvSpPr>
            <p:nvPr/>
          </p:nvSpPr>
          <p:spPr bwMode="gray">
            <a:xfrm>
              <a:off x="813530" y="1454889"/>
              <a:ext cx="7970470" cy="29926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  <p:cxnSp>
          <p:nvCxnSpPr>
            <p:cNvPr id="42" name="Straight Connector 41"/>
            <p:cNvCxnSpPr/>
            <p:nvPr/>
          </p:nvCxnSpPr>
          <p:spPr bwMode="gray">
            <a:xfrm>
              <a:off x="4798765" y="1456156"/>
              <a:ext cx="0" cy="2992699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 bwMode="gray">
            <a:xfrm>
              <a:off x="813600" y="2952505"/>
              <a:ext cx="7970400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 Placeholder 2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27681" y="2156156"/>
            <a:ext cx="318924" cy="2364429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45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737803" y="5655704"/>
            <a:ext cx="2437133" cy="246221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1219170" rtl="0" eaLnBrk="1" latinLnBrk="0" hangingPunct="1">
              <a:lnSpc>
                <a:spcPct val="100000"/>
              </a:lnSpc>
              <a:spcBef>
                <a:spcPts val="0"/>
              </a:spcBef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1219170" rtl="0" eaLnBrk="1" latinLnBrk="0" hangingPunct="1"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add matrix lab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2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1830000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0316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34" name="Rectangle 33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9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40" name="Freeform 39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27" name="Group 26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28" name="Straight Connector 2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37" name="Pentagon 28"/>
          <p:cNvSpPr/>
          <p:nvPr userDrawn="1"/>
        </p:nvSpPr>
        <p:spPr bwMode="gray">
          <a:xfrm>
            <a:off x="-1" y="6243917"/>
            <a:ext cx="1734798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38" name="Picture 8" descr="C:\Users\shustron\Desktop\Лого SalesCon2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217" y="6329902"/>
            <a:ext cx="1347386" cy="44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61572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 AkzoNobel logo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8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8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8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8" y="411834"/>
                  <a:pt x="6563878" y="411834"/>
                  <a:pt x="6563878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8" name="Freeform 1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699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 bwMode="gray">
          <a:xfrm>
            <a:off x="-1" y="-2"/>
            <a:ext cx="9144001" cy="1291169"/>
          </a:xfrm>
          <a:prstGeom prst="rect">
            <a:avLst/>
          </a:prstGeom>
          <a:gradFill>
            <a:gsLst>
              <a:gs pos="10000">
                <a:srgbClr val="E4312C"/>
              </a:gs>
              <a:gs pos="90000">
                <a:srgbClr val="F18E00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sz="2400" dirty="0" err="1"/>
          </a:p>
        </p:txBody>
      </p:sp>
      <p:sp>
        <p:nvSpPr>
          <p:cNvPr id="83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7" y="5195149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5149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0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7" y="4266846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6846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7" y="3338543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854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7" y="2410241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10241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7" y="1481938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2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938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1029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6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859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6902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5205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3507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grpSp>
        <p:nvGrpSpPr>
          <p:cNvPr id="33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47" name="Freeform 46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3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6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944275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0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7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27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8" name="Freeform 27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0206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out AkzoNobel logo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260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1649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Essentials">
    <p:bg bwMode="gray">
      <p:bgPr>
        <a:solidFill>
          <a:srgbClr val="B9C9D0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-8100" y="-1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3045600" y="-1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6096600" y="0"/>
            <a:ext cx="3052800" cy="6864000"/>
          </a:xfrm>
          <a:noFill/>
        </p:spPr>
        <p:txBody>
          <a:bodyPr lIns="144000" tIns="144000" rIns="144000" bIns="720000" anchor="ctr" anchorCtr="0"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30"/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13508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6" name="Text Placeholder 30"/>
          <p:cNvSpPr>
            <a:spLocks noGrp="1" noChangeAspect="1"/>
          </p:cNvSpPr>
          <p:nvPr>
            <p:ph type="body" sz="quarter" idx="18" hasCustomPrompt="1"/>
          </p:nvPr>
        </p:nvSpPr>
        <p:spPr bwMode="gray">
          <a:xfrm>
            <a:off x="43982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sp>
        <p:nvSpPr>
          <p:cNvPr id="7" name="Text Placeholder 30"/>
          <p:cNvSpPr>
            <a:spLocks noGrp="1" noChangeAspect="1"/>
          </p:cNvSpPr>
          <p:nvPr>
            <p:ph type="body" sz="quarter" idx="19" hasCustomPrompt="1"/>
          </p:nvPr>
        </p:nvSpPr>
        <p:spPr bwMode="gray">
          <a:xfrm>
            <a:off x="7445683" y="3429000"/>
            <a:ext cx="1620000" cy="1620000"/>
          </a:xfrm>
          <a:prstGeom prst="ellipse">
            <a:avLst/>
          </a:prstGeom>
          <a:solidFill>
            <a:schemeClr val="bg1">
              <a:alpha val="90000"/>
            </a:schemeClr>
          </a:solidFill>
        </p:spPr>
        <p:txBody>
          <a:bodyPr lIns="0" tIns="0" rIns="0" b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accent1"/>
                </a:solidFill>
              </a:defRPr>
            </a:lvl1pPr>
            <a:lvl2pPr marL="239178" indent="-239178" algn="ctr">
              <a:lnSpc>
                <a:spcPct val="100000"/>
              </a:lnSpc>
              <a:defRPr sz="1600">
                <a:solidFill>
                  <a:schemeClr val="bg1"/>
                </a:solidFill>
              </a:defRPr>
            </a:lvl2pPr>
            <a:lvl3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text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9" name="Rectangle 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19" name="Straight Arrow Connector 18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1" idx="0"/>
              <a:endCxn id="1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stCxn id="11" idx="3"/>
              <a:endCxn id="1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grpSp>
        <p:nvGrpSpPr>
          <p:cNvPr id="24" name="Group 23"/>
          <p:cNvGrpSpPr/>
          <p:nvPr userDrawn="1"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27" name="Rectangle 2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4" name="Rectangle 33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6" name="Straight Arrow Connector 35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>
              <a:stCxn id="11" idx="0"/>
              <a:endCxn id="1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stCxn id="11" idx="3"/>
              <a:endCxn id="1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176788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 bwMode="gray">
      <p:bgPr>
        <a:gradFill>
          <a:gsLst>
            <a:gs pos="10000">
              <a:srgbClr val="E4312C"/>
            </a:gs>
            <a:gs pos="90000">
              <a:srgbClr val="F18E00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2338075"/>
            <a:ext cx="8431576" cy="3675377"/>
          </a:xfrm>
        </p:spPr>
        <p:txBody>
          <a:bodyPr anchor="t" anchorCtr="0"/>
          <a:lstStyle>
            <a:lvl1pPr>
              <a:lnSpc>
                <a:spcPct val="80000"/>
              </a:lnSpc>
              <a:defRPr sz="9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4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5" name="Freeform 1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6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7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8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9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25" name="Picture 8" descr="C:\Users\shustron\Desktop\Лого SalesCon2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217" y="6329902"/>
            <a:ext cx="1347386" cy="44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4708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" name="Group 195"/>
          <p:cNvGrpSpPr>
            <a:grpSpLocks noChangeAspect="1"/>
          </p:cNvGrpSpPr>
          <p:nvPr userDrawn="1"/>
        </p:nvGrpSpPr>
        <p:grpSpPr bwMode="black">
          <a:xfrm>
            <a:off x="5619752" y="1581490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60013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0920" rtl="0" eaLnBrk="1" latinLnBrk="0" hangingPunct="1">
              <a:lnSpc>
                <a:spcPts val="2962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40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092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034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" name="Group 195"/>
          <p:cNvGrpSpPr>
            <a:grpSpLocks noChangeAspect="1"/>
          </p:cNvGrpSpPr>
          <p:nvPr userDrawn="1"/>
        </p:nvGrpSpPr>
        <p:grpSpPr bwMode="black">
          <a:xfrm>
            <a:off x="5619752" y="1581490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60013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0920" rtl="0" eaLnBrk="1" latinLnBrk="0" hangingPunct="1">
              <a:lnSpc>
                <a:spcPts val="2962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40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092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7848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4" name="Group 195"/>
          <p:cNvGrpSpPr>
            <a:grpSpLocks noChangeAspect="1"/>
          </p:cNvGrpSpPr>
          <p:nvPr userDrawn="1"/>
        </p:nvGrpSpPr>
        <p:grpSpPr bwMode="black">
          <a:xfrm>
            <a:off x="5619752" y="1581490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5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60013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0920" rtl="0" eaLnBrk="1" latinLnBrk="0" hangingPunct="1">
              <a:lnSpc>
                <a:spcPts val="2962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40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092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icture Placeholder 20"/>
          <p:cNvSpPr>
            <a:spLocks noGrp="1"/>
          </p:cNvSpPr>
          <p:nvPr>
            <p:ph type="pic" sz="quarter" idx="10"/>
          </p:nvPr>
        </p:nvSpPr>
        <p:spPr>
          <a:xfrm>
            <a:off x="0" y="2820478"/>
            <a:ext cx="9144000" cy="4037522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316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6406014"/>
            <a:ext cx="9144000" cy="4519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159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83"/>
            <a:ext cx="4140000" cy="4608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159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1" name="Rectangle 30"/>
          <p:cNvSpPr/>
          <p:nvPr userDrawn="1"/>
        </p:nvSpPr>
        <p:spPr bwMode="black">
          <a:xfrm>
            <a:off x="0" y="1429200"/>
            <a:ext cx="9144000" cy="72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078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1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36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38" name="Rectangle 37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>
            <a:lvl1pPr marL="448290" indent="-44829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 typeface="+mj-lt"/>
              <a:buAutoNum type="arabicPeriod"/>
              <a:defRPr b="0">
                <a:solidFill>
                  <a:schemeClr val="accent1"/>
                </a:solidFill>
              </a:defRPr>
            </a:lvl1pPr>
            <a:lvl2pPr marL="34159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83"/>
            <a:ext cx="4140000" cy="4608568"/>
          </a:xfrm>
        </p:spPr>
        <p:txBody>
          <a:bodyPr/>
          <a:lstStyle>
            <a:lvl1pPr marL="448290" indent="-44829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 typeface="+mj-lt"/>
              <a:buAutoNum type="arabicPeriod" startAt="7"/>
              <a:defRPr b="0">
                <a:solidFill>
                  <a:schemeClr val="accent1"/>
                </a:solidFill>
              </a:defRPr>
            </a:lvl1pPr>
            <a:lvl2pPr marL="34159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078544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2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10"/>
          <p:cNvSpPr/>
          <p:nvPr/>
        </p:nvSpPr>
        <p:spPr bwMode="gray">
          <a:xfrm>
            <a:off x="2" y="0"/>
            <a:ext cx="9143999" cy="57981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0000"/>
                </a:schemeClr>
              </a:gs>
              <a:gs pos="5400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6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4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5" y="5194213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421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4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5" y="4265910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5910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6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5" y="3337607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7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7607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8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5" y="2409305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09305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0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5" y="1481002"/>
            <a:ext cx="8431200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FFFFFF">
              <a:alpha val="90000"/>
            </a:srgbClr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1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002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2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09360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3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7663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5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596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6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426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7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2571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grpSp>
        <p:nvGrpSpPr>
          <p:cNvPr id="35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6" name="Freeform 35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8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9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0" name="Rectangle 59"/>
          <p:cNvSpPr/>
          <p:nvPr/>
        </p:nvSpPr>
        <p:spPr bwMode="gray">
          <a:xfrm>
            <a:off x="9288780" y="182684"/>
            <a:ext cx="1501140" cy="118760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>
                <a:solidFill>
                  <a:schemeClr val="tx1"/>
                </a:solidFill>
              </a:rPr>
              <a:t>  is ticked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137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/>
      <p:bldP spid="55" grpId="0"/>
      <p:bldP spid="56" grpId="0"/>
      <p:bldP spid="57" grpId="0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2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30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32" name="Rectangle 31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t>Business unit | Footer</a:t>
            </a:r>
            <a:endParaRPr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50"/>
            <a:ext cx="4140000" cy="4608569"/>
          </a:xfrm>
        </p:spPr>
        <p:txBody>
          <a:bodyPr/>
          <a:lstStyle>
            <a:lvl1pPr marL="448290" indent="-448290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447553" indent="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+mj-lt"/>
              <a:buNone/>
              <a:defRPr sz="1600" b="0">
                <a:solidFill>
                  <a:schemeClr val="accent2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44000" y="1600150"/>
            <a:ext cx="4140000" cy="4608569"/>
          </a:xfrm>
        </p:spPr>
        <p:txBody>
          <a:bodyPr/>
          <a:lstStyle>
            <a:lvl1pPr marL="448290" indent="-448290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 startAt="7"/>
              <a:defRPr b="1">
                <a:solidFill>
                  <a:schemeClr val="accent1"/>
                </a:solidFill>
              </a:defRPr>
            </a:lvl1pPr>
            <a:lvl2pPr marL="44755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+mj-lt"/>
              <a:buNone/>
              <a:defRPr sz="1600" b="0">
                <a:solidFill>
                  <a:schemeClr val="accent2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6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3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4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980832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50"/>
            <a:ext cx="8424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038614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30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32" name="Rectangle 31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00150"/>
            <a:ext cx="8426268" cy="4608569"/>
          </a:xfrm>
        </p:spPr>
        <p:txBody>
          <a:bodyPr/>
          <a:lstStyle>
            <a:lvl1pPr marL="179316" indent="-179316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3" name="Title 8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 marL="539286" indent="-539286">
              <a:buFont typeface="+mj-lt"/>
              <a:buAutoNum type="arabicPeriod"/>
              <a:tabLst>
                <a:tab pos="539286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4" name="Slide Number Placeholder 8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5" name="Footer Placeholder 8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81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2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6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7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8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89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0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1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2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3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4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528421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24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6" name="Rectangle 25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38" y="1600150"/>
            <a:ext cx="8424000" cy="4608569"/>
          </a:xfrm>
        </p:spPr>
        <p:txBody>
          <a:bodyPr/>
          <a:lstStyle>
            <a:lvl1pPr marL="179316" indent="-179316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Title 73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39286" indent="-539286" algn="l" defTabSz="91092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39286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5" name="Slide Number Placeholder 7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6" name="Footer Placeholder 7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038652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Turquois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24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6" name="Rectangle 25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38" y="1600150"/>
            <a:ext cx="8424000" cy="4608569"/>
          </a:xfrm>
        </p:spPr>
        <p:txBody>
          <a:bodyPr/>
          <a:lstStyle>
            <a:lvl1pPr marL="179316" indent="-179316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39286" indent="-539286" algn="l" defTabSz="91092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39286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601758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24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6" name="Rectangle 25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38" y="1600150"/>
            <a:ext cx="8424000" cy="4608569"/>
          </a:xfrm>
        </p:spPr>
        <p:txBody>
          <a:bodyPr/>
          <a:lstStyle>
            <a:lvl1pPr marL="179316" indent="-179316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t>Business unit | Footer</a:t>
            </a:r>
            <a:endParaRPr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39286" indent="-539286" algn="l" defTabSz="91092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39286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745266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83"/>
            <a:ext cx="6372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73827" y="1432800"/>
            <a:ext cx="2270225" cy="4966014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832091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088007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45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38" y="3976467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115381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360000" y="1600751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217916" y="1600751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6076750" y="1600751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800811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1298829"/>
            <a:ext cx="84384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0818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60038" y="1600751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505583" y="1600751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4651204" y="1600751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6796751" y="1600751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889466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18" name="Rectangle 17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34414"/>
            <a:ext cx="9144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564689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grpSp>
        <p:nvGrpSpPr>
          <p:cNvPr id="3" name="Group 22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0920"/>
              <a:endParaRPr lang="en-US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4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chemeClr val="bg1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8" name="Rectangle 27"/>
          <p:cNvSpPr/>
          <p:nvPr userDrawn="1"/>
        </p:nvSpPr>
        <p:spPr>
          <a:xfrm>
            <a:off x="9288819" y="182684"/>
            <a:ext cx="1501140" cy="1187606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82" tIns="107582" rIns="107582" bIns="107582" rtlCol="0" anchor="t" anchorCtr="0">
            <a:noAutofit/>
          </a:bodyPr>
          <a:lstStyle/>
          <a:p>
            <a:pPr defTabSz="910920"/>
            <a:r>
              <a:rPr lang="en-US" sz="900" b="1" dirty="0" smtClean="0">
                <a:solidFill>
                  <a:srgbClr val="000000"/>
                </a:solidFill>
              </a:rPr>
              <a:t>Insert image via</a:t>
            </a:r>
          </a:p>
          <a:p>
            <a:pPr defTabSz="910920"/>
            <a:r>
              <a:rPr lang="en-US" sz="900" dirty="0" smtClean="0">
                <a:solidFill>
                  <a:srgbClr val="000000"/>
                </a:solidFill>
              </a:rPr>
              <a:t>Format Background &gt; Picture or texture fill &gt;</a:t>
            </a:r>
          </a:p>
          <a:p>
            <a:pPr defTabSz="910920"/>
            <a:r>
              <a:rPr lang="en-US" sz="900" dirty="0" smtClean="0">
                <a:solidFill>
                  <a:srgbClr val="000000"/>
                </a:solidFill>
              </a:rPr>
              <a:t>Click “File” to browse to your image</a:t>
            </a:r>
          </a:p>
          <a:p>
            <a:pPr defTabSz="910920"/>
            <a:r>
              <a:rPr lang="en-US" sz="900" dirty="0" smtClean="0">
                <a:solidFill>
                  <a:srgbClr val="000000"/>
                </a:solidFill>
              </a:rPr>
              <a:t>Make sure </a:t>
            </a:r>
            <a:r>
              <a:rPr lang="en-US" sz="900" i="1" dirty="0" smtClean="0">
                <a:solidFill>
                  <a:srgbClr val="000000"/>
                </a:solidFill>
              </a:rPr>
              <a:t>“Tile picture as texture”</a:t>
            </a:r>
            <a:r>
              <a:rPr lang="en-US" sz="900" dirty="0" smtClean="0">
                <a:solidFill>
                  <a:srgbClr val="000000"/>
                </a:solidFill>
              </a:rPr>
              <a:t>  is ticked</a:t>
            </a: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545441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1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grpSp>
        <p:nvGrpSpPr>
          <p:cNvPr id="3" name="Group 58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0920"/>
              <a:endParaRPr lang="en-US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4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6" name="Rectangle 25"/>
          <p:cNvSpPr/>
          <p:nvPr userDrawn="1"/>
        </p:nvSpPr>
        <p:spPr>
          <a:xfrm>
            <a:off x="9288819" y="182684"/>
            <a:ext cx="1501140" cy="1187606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82" tIns="107582" rIns="107582" bIns="107582" rtlCol="0" anchor="t" anchorCtr="0">
            <a:noAutofit/>
          </a:bodyPr>
          <a:lstStyle/>
          <a:p>
            <a:pPr defTabSz="910920"/>
            <a:r>
              <a:rPr lang="en-US" sz="900" b="1" dirty="0" smtClean="0">
                <a:solidFill>
                  <a:srgbClr val="000000"/>
                </a:solidFill>
              </a:rPr>
              <a:t>Insert image via</a:t>
            </a:r>
          </a:p>
          <a:p>
            <a:pPr defTabSz="910920"/>
            <a:r>
              <a:rPr lang="en-US" sz="900" dirty="0" smtClean="0">
                <a:solidFill>
                  <a:srgbClr val="000000"/>
                </a:solidFill>
              </a:rPr>
              <a:t>Format Background &gt; Picture or texture fill &gt;</a:t>
            </a:r>
          </a:p>
          <a:p>
            <a:pPr defTabSz="910920"/>
            <a:r>
              <a:rPr lang="en-US" sz="900" dirty="0" smtClean="0">
                <a:solidFill>
                  <a:srgbClr val="000000"/>
                </a:solidFill>
              </a:rPr>
              <a:t>Click “File” to browse to your image</a:t>
            </a:r>
          </a:p>
          <a:p>
            <a:pPr defTabSz="910920"/>
            <a:r>
              <a:rPr lang="en-US" sz="900" dirty="0" smtClean="0">
                <a:solidFill>
                  <a:srgbClr val="000000"/>
                </a:solidFill>
              </a:rPr>
              <a:t>Make sure </a:t>
            </a:r>
            <a:r>
              <a:rPr lang="en-US" sz="900" i="1" dirty="0" smtClean="0">
                <a:solidFill>
                  <a:srgbClr val="000000"/>
                </a:solidFill>
              </a:rPr>
              <a:t>“Tile picture as texture”</a:t>
            </a:r>
            <a:r>
              <a:rPr lang="en-US" sz="900" dirty="0" smtClean="0">
                <a:solidFill>
                  <a:srgbClr val="000000"/>
                </a:solidFill>
              </a:rPr>
              <a:t>  is ticked</a:t>
            </a: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777296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1434414"/>
            <a:ext cx="4572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1434414"/>
            <a:ext cx="4572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444736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44003" y="1434414"/>
            <a:ext cx="4499999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578118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4414"/>
            <a:ext cx="5935915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076800" y="1600750"/>
            <a:ext cx="27072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053322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076751" y="1434414"/>
            <a:ext cx="306725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60001" y="1600750"/>
            <a:ext cx="5575916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693473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4414"/>
            <a:ext cx="6548368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32000" y="1600750"/>
            <a:ext cx="205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402909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6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38" y="2067611"/>
            <a:ext cx="8424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56633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99067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38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4644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172156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59999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1602317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3217916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217916" y="1602317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6076750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076750" y="1602317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600743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38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2507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07124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4649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649124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21"/>
          </p:nvPr>
        </p:nvSpPr>
        <p:spPr>
          <a:xfrm>
            <a:off x="6791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6791124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053544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644000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38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38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721882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1" y="1600183"/>
            <a:ext cx="5575916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6076751" y="2067611"/>
            <a:ext cx="270725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6076751" y="1602317"/>
            <a:ext cx="270725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661877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1" y="1600183"/>
            <a:ext cx="270725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1" y="2067611"/>
            <a:ext cx="5575916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1" y="1602317"/>
            <a:ext cx="5575916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778941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3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45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59999" y="4443961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3978601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217916" y="4443961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217916" y="3978601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6076750" y="4443961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6076750" y="3978601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584183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Horizonta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1" y="1600183"/>
            <a:ext cx="270725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60036" y="2058042"/>
            <a:ext cx="5575917" cy="1016604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36" y="1602317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36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60036" y="3622549"/>
            <a:ext cx="5575917" cy="10152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7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60036" y="3164651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3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360036" y="5194490"/>
            <a:ext cx="5575917" cy="10152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9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36" y="4736592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638818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360038" y="2067649"/>
            <a:ext cx="8424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177573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38" y="2067649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49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832425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3213000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6073575" y="1298829"/>
            <a:ext cx="271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3120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50"/>
            <a:ext cx="4140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49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755442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grpSp>
        <p:nvGrpSpPr>
          <p:cNvPr id="2" name="Group 69"/>
          <p:cNvGrpSpPr/>
          <p:nvPr userDrawn="1"/>
        </p:nvGrpSpPr>
        <p:grpSpPr>
          <a:xfrm>
            <a:off x="452334" y="1636749"/>
            <a:ext cx="8331667" cy="4554514"/>
            <a:chOff x="452333" y="1274889"/>
            <a:chExt cx="8331667" cy="3222290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452333" y="4497179"/>
              <a:ext cx="8331667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 flipV="1">
              <a:off x="452333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528735" y="1274894"/>
              <a:ext cx="208390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910920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62"/>
            <p:cNvGrpSpPr/>
            <p:nvPr/>
          </p:nvGrpSpPr>
          <p:grpSpPr>
            <a:xfrm>
              <a:off x="813530" y="1274889"/>
              <a:ext cx="7970470" cy="2993966"/>
              <a:chOff x="813530" y="1454889"/>
              <a:chExt cx="7970470" cy="2993966"/>
            </a:xfrm>
          </p:grpSpPr>
          <p:sp>
            <p:nvSpPr>
              <p:cNvPr id="16" name="Rectangle 499"/>
              <p:cNvSpPr>
                <a:spLocks noChangeArrowheads="1"/>
              </p:cNvSpPr>
              <p:nvPr/>
            </p:nvSpPr>
            <p:spPr bwMode="auto">
              <a:xfrm>
                <a:off x="813530" y="1454889"/>
                <a:ext cx="7970470" cy="2992698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GB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7" name="Straight Connector 16"/>
              <p:cNvCxnSpPr/>
              <p:nvPr/>
            </p:nvCxnSpPr>
            <p:spPr>
              <a:xfrm>
                <a:off x="4798765" y="1456156"/>
                <a:ext cx="0" cy="2992699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813600" y="2952505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ctangle 13"/>
            <p:cNvSpPr/>
            <p:nvPr/>
          </p:nvSpPr>
          <p:spPr>
            <a:xfrm>
              <a:off x="8575610" y="4311797"/>
              <a:ext cx="208390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910920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3618" y="4311797"/>
              <a:ext cx="118623" cy="15242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910920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685" y="2986167"/>
            <a:ext cx="257139" cy="1771318"/>
          </a:xfrm>
          <a:solidFill>
            <a:srgbClr val="FFFFFF"/>
          </a:solidFill>
        </p:spPr>
        <p:txBody>
          <a:bodyPr vert="vert270"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79197" y="6068153"/>
            <a:ext cx="1843792" cy="184666"/>
          </a:xfrm>
          <a:solidFill>
            <a:srgbClr val="FFFFFF"/>
          </a:solidFill>
        </p:spPr>
        <p:txBody>
          <a:bodyPr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/>
          </p:nvPr>
        </p:nvSpPr>
        <p:spPr>
          <a:xfrm>
            <a:off x="813600" y="1636749"/>
            <a:ext cx="3978000" cy="2111496"/>
          </a:xfrm>
        </p:spPr>
        <p:txBody>
          <a:bodyPr lIns="71734" tIns="71734" rIns="71734" bIns="71734"/>
          <a:lstStyle>
            <a:lvl1pPr>
              <a:lnSpc>
                <a:spcPct val="100000"/>
              </a:lnSpc>
              <a:defRPr sz="1400"/>
            </a:lvl1pPr>
            <a:lvl2pPr marL="178704" indent="-178704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9"/>
          </p:nvPr>
        </p:nvSpPr>
        <p:spPr>
          <a:xfrm>
            <a:off x="4806038" y="1636749"/>
            <a:ext cx="3978000" cy="2111496"/>
          </a:xfrm>
        </p:spPr>
        <p:txBody>
          <a:bodyPr lIns="71734" tIns="71734" rIns="71734" bIns="71734"/>
          <a:lstStyle>
            <a:lvl1pPr>
              <a:lnSpc>
                <a:spcPct val="100000"/>
              </a:lnSpc>
              <a:defRPr sz="1400"/>
            </a:lvl1pPr>
            <a:lvl2pPr marL="178704" indent="-178704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20"/>
          </p:nvPr>
        </p:nvSpPr>
        <p:spPr>
          <a:xfrm>
            <a:off x="813600" y="3753502"/>
            <a:ext cx="3978000" cy="2111496"/>
          </a:xfrm>
        </p:spPr>
        <p:txBody>
          <a:bodyPr lIns="71734" tIns="71734" rIns="71734" bIns="71734"/>
          <a:lstStyle>
            <a:lvl1pPr>
              <a:lnSpc>
                <a:spcPct val="100000"/>
              </a:lnSpc>
              <a:defRPr sz="1400"/>
            </a:lvl1pPr>
            <a:lvl2pPr marL="178704" indent="-178704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21"/>
          </p:nvPr>
        </p:nvSpPr>
        <p:spPr>
          <a:xfrm>
            <a:off x="4806038" y="3753502"/>
            <a:ext cx="3978000" cy="2111496"/>
          </a:xfrm>
        </p:spPr>
        <p:txBody>
          <a:bodyPr lIns="71734" tIns="71734" rIns="71734" bIns="71734"/>
          <a:lstStyle>
            <a:lvl1pPr>
              <a:lnSpc>
                <a:spcPct val="100000"/>
              </a:lnSpc>
              <a:defRPr sz="1400"/>
            </a:lvl1pPr>
            <a:lvl2pPr marL="178704" indent="-178704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747350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/>
          <p:cNvCxnSpPr/>
          <p:nvPr/>
        </p:nvCxnSpPr>
        <p:spPr>
          <a:xfrm>
            <a:off x="3335046" y="6194546"/>
            <a:ext cx="5483583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3335008" y="1636190"/>
            <a:ext cx="0" cy="4558356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411410" y="1636190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0920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2" name="Group 62"/>
          <p:cNvGrpSpPr/>
          <p:nvPr/>
        </p:nvGrpSpPr>
        <p:grpSpPr>
          <a:xfrm>
            <a:off x="3696205" y="1636225"/>
            <a:ext cx="5112860" cy="4231789"/>
            <a:chOff x="813530" y="1454890"/>
            <a:chExt cx="7970470" cy="2991436"/>
          </a:xfrm>
        </p:grpSpPr>
        <p:sp>
          <p:nvSpPr>
            <p:cNvPr id="36" name="Rectangle 499"/>
            <p:cNvSpPr>
              <a:spLocks noChangeArrowheads="1"/>
            </p:cNvSpPr>
            <p:nvPr/>
          </p:nvSpPr>
          <p:spPr bwMode="auto">
            <a:xfrm>
              <a:off x="813530" y="1454890"/>
              <a:ext cx="7970470" cy="298933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GB" dirty="0">
                <a:solidFill>
                  <a:srgbClr val="000000"/>
                </a:solidFill>
              </a:endParaRPr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4798765" y="1456155"/>
              <a:ext cx="0" cy="2990171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813599" y="2951241"/>
              <a:ext cx="7970401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>
          <a:xfrm>
            <a:off x="8610201" y="5929239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0920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456293" y="5929239"/>
            <a:ext cx="118623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0920"/>
            <a:r>
              <a:rPr lang="nl-NL" sz="1400" dirty="0" smtClean="0">
                <a:solidFill>
                  <a:srgbClr val="000000"/>
                </a:solidFill>
              </a:rPr>
              <a:t>--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06359" y="2989486"/>
            <a:ext cx="257139" cy="1771318"/>
          </a:xfrm>
          <a:solidFill>
            <a:srgbClr val="FFFFFF"/>
          </a:solidFill>
        </p:spPr>
        <p:txBody>
          <a:bodyPr vert="vert270"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5335542" y="6071472"/>
            <a:ext cx="1843792" cy="184666"/>
          </a:xfrm>
          <a:solidFill>
            <a:srgbClr val="FFFFFF"/>
          </a:solidFill>
        </p:spPr>
        <p:txBody>
          <a:bodyPr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360000" y="1600750"/>
            <a:ext cx="27072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686519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/>
          <p:cNvCxnSpPr/>
          <p:nvPr/>
        </p:nvCxnSpPr>
        <p:spPr>
          <a:xfrm>
            <a:off x="452385" y="6194546"/>
            <a:ext cx="609603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52333" y="1636190"/>
            <a:ext cx="0" cy="4558356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528735" y="1636190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0920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2" name="Group 62"/>
          <p:cNvGrpSpPr/>
          <p:nvPr/>
        </p:nvGrpSpPr>
        <p:grpSpPr>
          <a:xfrm>
            <a:off x="813530" y="1636225"/>
            <a:ext cx="5764944" cy="4231789"/>
            <a:chOff x="813530" y="1454890"/>
            <a:chExt cx="7970470" cy="2991436"/>
          </a:xfrm>
        </p:grpSpPr>
        <p:sp>
          <p:nvSpPr>
            <p:cNvPr id="36" name="Rectangle 499"/>
            <p:cNvSpPr>
              <a:spLocks noChangeArrowheads="1"/>
            </p:cNvSpPr>
            <p:nvPr/>
          </p:nvSpPr>
          <p:spPr bwMode="auto">
            <a:xfrm>
              <a:off x="813530" y="1454890"/>
              <a:ext cx="7970470" cy="298933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GB" dirty="0">
                <a:solidFill>
                  <a:srgbClr val="000000"/>
                </a:solidFill>
              </a:endParaRPr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4798765" y="1456155"/>
              <a:ext cx="0" cy="2990171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813599" y="2951241"/>
              <a:ext cx="7970401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>
          <a:xfrm>
            <a:off x="6339978" y="5929239"/>
            <a:ext cx="20839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0920"/>
            <a:r>
              <a:rPr lang="nl-NL" sz="1400" dirty="0" smtClean="0">
                <a:solidFill>
                  <a:srgbClr val="000000"/>
                </a:solidFill>
              </a:rPr>
              <a:t>++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73618" y="5929239"/>
            <a:ext cx="118623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0920"/>
            <a:r>
              <a:rPr lang="nl-NL" sz="1400" dirty="0" smtClean="0">
                <a:solidFill>
                  <a:srgbClr val="000000"/>
                </a:solidFill>
              </a:rPr>
              <a:t>--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3685" y="2989486"/>
            <a:ext cx="257139" cy="1771318"/>
          </a:xfrm>
          <a:solidFill>
            <a:srgbClr val="FFFFFF"/>
          </a:solidFill>
        </p:spPr>
        <p:txBody>
          <a:bodyPr vert="vert270"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2774147" y="6071472"/>
            <a:ext cx="1843792" cy="184666"/>
          </a:xfrm>
          <a:solidFill>
            <a:srgbClr val="FFFFFF"/>
          </a:solidFill>
        </p:spPr>
        <p:txBody>
          <a:bodyPr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5"/>
          </p:nvPr>
        </p:nvSpPr>
        <p:spPr>
          <a:xfrm>
            <a:off x="6732000" y="1600750"/>
            <a:ext cx="205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42077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grpSp>
        <p:nvGrpSpPr>
          <p:cNvPr id="2" name="Group 55"/>
          <p:cNvGrpSpPr/>
          <p:nvPr userDrawn="1"/>
        </p:nvGrpSpPr>
        <p:grpSpPr>
          <a:xfrm>
            <a:off x="4752146" y="1636184"/>
            <a:ext cx="4031854" cy="4558362"/>
            <a:chOff x="4752146" y="1274890"/>
            <a:chExt cx="4031854" cy="3222289"/>
          </a:xfrm>
        </p:grpSpPr>
        <p:cxnSp>
          <p:nvCxnSpPr>
            <p:cNvPr id="15" name="Straight Arrow Connector 14"/>
            <p:cNvCxnSpPr/>
            <p:nvPr/>
          </p:nvCxnSpPr>
          <p:spPr>
            <a:xfrm>
              <a:off x="4752146" y="4497179"/>
              <a:ext cx="4027569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V="1">
              <a:off x="4752146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49"/>
            <p:cNvGrpSpPr/>
            <p:nvPr/>
          </p:nvGrpSpPr>
          <p:grpSpPr>
            <a:xfrm>
              <a:off x="5113343" y="1274890"/>
              <a:ext cx="3666372" cy="2989333"/>
              <a:chOff x="813530" y="1454890"/>
              <a:chExt cx="7970470" cy="2989333"/>
            </a:xfrm>
          </p:grpSpPr>
          <p:sp>
            <p:nvSpPr>
              <p:cNvPr id="23" name="Rectangle 499"/>
              <p:cNvSpPr>
                <a:spLocks noChangeArrowheads="1"/>
              </p:cNvSpPr>
              <p:nvPr/>
            </p:nvSpPr>
            <p:spPr bwMode="auto">
              <a:xfrm>
                <a:off x="813530" y="1454890"/>
                <a:ext cx="7970470" cy="298933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GB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>
                <a:off x="4798765" y="1456156"/>
                <a:ext cx="0" cy="2988067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813600" y="2950189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Rectangle 19"/>
            <p:cNvSpPr/>
            <p:nvPr/>
          </p:nvSpPr>
          <p:spPr>
            <a:xfrm>
              <a:off x="4828549" y="1274894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910920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575610" y="4309607"/>
              <a:ext cx="208390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910920"/>
              <a:r>
                <a:rPr lang="nl-NL" sz="1400" dirty="0" smtClean="0">
                  <a:solidFill>
                    <a:srgbClr val="000000"/>
                  </a:solidFill>
                </a:rPr>
                <a:t>++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73432" y="4309607"/>
              <a:ext cx="118623" cy="15229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910920"/>
              <a:r>
                <a:rPr lang="nl-NL" sz="1400" dirty="0" smtClean="0">
                  <a:solidFill>
                    <a:srgbClr val="000000"/>
                  </a:solidFill>
                </a:rPr>
                <a:t>--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23483" y="2989486"/>
            <a:ext cx="257139" cy="1771318"/>
          </a:xfrm>
          <a:solidFill>
            <a:srgbClr val="FFFFFF"/>
          </a:solidFill>
        </p:spPr>
        <p:txBody>
          <a:bodyPr vert="vert270"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040313" y="6071472"/>
            <a:ext cx="1843792" cy="184666"/>
          </a:xfrm>
          <a:solidFill>
            <a:srgbClr val="FFFFFF"/>
          </a:solidFill>
        </p:spPr>
        <p:txBody>
          <a:bodyPr wrap="none" lIns="35886" tIns="0" rIns="35886" bIns="0">
            <a:spAutoFit/>
          </a:bodyPr>
          <a:lstStyle>
            <a:lvl1pPr marL="0" algn="ctr" defTabSz="91092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092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50"/>
            <a:ext cx="4140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895386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83471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4"/>
          <p:cNvSpPr>
            <a:spLocks noGrp="1" noChangeAspect="1"/>
          </p:cNvSpPr>
          <p:nvPr>
            <p:ph type="media" sz="quarter" idx="12" hasCustomPrompt="1"/>
          </p:nvPr>
        </p:nvSpPr>
        <p:spPr bwMode="auto">
          <a:xfrm>
            <a:off x="1220012" y="1434414"/>
            <a:ext cx="6704053" cy="4964400"/>
          </a:xfrm>
          <a:solidFill>
            <a:schemeClr val="tx1"/>
          </a:solidFill>
        </p:spPr>
        <p:txBody>
          <a:bodyPr anchor="ctr" anchorCtr="0"/>
          <a:lstStyle>
            <a:lvl1pPr marL="0" marR="0" indent="0" algn="ctr" defTabSz="9109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9038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smtClean="0">
                <a:solidFill>
                  <a:srgbClr val="000000"/>
                </a:solidFill>
              </a:rPr>
              <a:t>Business unit | Footer</a:t>
            </a:r>
            <a:endParaRPr lang="nl-NL" dirty="0">
              <a:solidFill>
                <a:srgbClr val="000000"/>
              </a:solidFill>
            </a:endParaRPr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09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2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9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2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8018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>
                <a:solidFill>
                  <a:srgbClr val="FFFFFF"/>
                </a:solidFill>
              </a:rPr>
              <a:t>Business unit | Footer</a:t>
            </a:r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092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2" name="Group 31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defTabSz="910920"/>
              <a:endParaRPr lang="en-US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3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7078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2832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24994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464652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1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847091" y="635091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3738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 bwMode="lt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135"/>
          <p:cNvGrpSpPr>
            <a:grpSpLocks noChangeAspect="1"/>
          </p:cNvGrpSpPr>
          <p:nvPr userDrawn="1"/>
        </p:nvGrpSpPr>
        <p:grpSpPr bwMode="black">
          <a:xfrm>
            <a:off x="5619752" y="1581490"/>
            <a:ext cx="3228853" cy="604800"/>
            <a:chOff x="1427163" y="-1920875"/>
            <a:chExt cx="7881938" cy="1476375"/>
          </a:xfrm>
        </p:grpSpPr>
        <p:sp>
          <p:nvSpPr>
            <p:cNvPr id="13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14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3" name="Title 1"/>
          <p:cNvSpPr>
            <a:spLocks noGrp="1"/>
          </p:cNvSpPr>
          <p:nvPr>
            <p:ph type="ctrTitle"/>
          </p:nvPr>
        </p:nvSpPr>
        <p:spPr>
          <a:xfrm>
            <a:off x="360037" y="360000"/>
            <a:ext cx="7298102" cy="10878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0920" rtl="0" eaLnBrk="1" latinLnBrk="0" hangingPunct="1">
              <a:lnSpc>
                <a:spcPts val="2962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5" name="Straight Connector 13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398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6054" y="1707109"/>
            <a:ext cx="4104456" cy="1043186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6501" y="2804359"/>
            <a:ext cx="4104456" cy="104400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3000" b="1">
                <a:solidFill>
                  <a:schemeClr val="bg2"/>
                </a:solidFill>
              </a:defRPr>
            </a:lvl1pPr>
            <a:lvl2pPr marL="45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3200" y="486064"/>
            <a:ext cx="2210400" cy="153888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48800" y="1809750"/>
            <a:ext cx="4068762" cy="46878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pic>
        <p:nvPicPr>
          <p:cNvPr id="8" name="Picture 7" descr="MEDIACOM_STRAPLINE_RGB_POS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600" y="6141665"/>
            <a:ext cx="1457728" cy="35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37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41" y="390142"/>
            <a:ext cx="5374787" cy="1018032"/>
          </a:xfrm>
        </p:spPr>
        <p:txBody>
          <a:bodyPr anchor="t" anchorCtr="0">
            <a:noAutofit/>
          </a:bodyPr>
          <a:lstStyle>
            <a:lvl1pPr algn="l">
              <a:defRPr sz="3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2931" y="1799300"/>
            <a:ext cx="5577840" cy="4698383"/>
          </a:xfrm>
        </p:spPr>
        <p:txBody>
          <a:bodyPr/>
          <a:lstStyle>
            <a:lvl1pPr>
              <a:defRPr lang="en-US" sz="20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8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88578">
              <a:defRPr lang="en-US" sz="14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918104">
              <a:defRPr lang="en-US" sz="14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147630">
              <a:defRPr lang="en-US" sz="14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1377156">
              <a:defRPr lang="en-US" sz="14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4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>
              <a:defRPr lang="en-GB" sz="14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 defTabSz="910920" rtl="0" eaLnBrk="1" latinLnBrk="0" hangingPunct="1">
              <a:lnSpc>
                <a:spcPct val="125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noProof="0" smtClean="0"/>
              <a:t>Click to edit Master text styles</a:t>
            </a:r>
          </a:p>
          <a:p>
            <a:pPr marL="0" lvl="1" indent="0" algn="l" defTabSz="910920" rtl="0" eaLnBrk="1" latinLnBrk="0" hangingPunct="1">
              <a:lnSpc>
                <a:spcPct val="125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noProof="0" smtClean="0"/>
              <a:t>Second level</a:t>
            </a:r>
          </a:p>
          <a:p>
            <a:pPr marL="0" lvl="2" indent="0" algn="l" defTabSz="910920" rtl="0" eaLnBrk="1" latinLnBrk="0" hangingPunct="1">
              <a:lnSpc>
                <a:spcPct val="125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noProof="0" smtClean="0"/>
              <a:t>Third level</a:t>
            </a:r>
          </a:p>
          <a:p>
            <a:pPr marL="0" lvl="3" indent="0" algn="l" defTabSz="910920" rtl="0" eaLnBrk="1" latinLnBrk="0" hangingPunct="1">
              <a:lnSpc>
                <a:spcPct val="125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noProof="0" smtClean="0"/>
              <a:t>Fourth level</a:t>
            </a:r>
          </a:p>
          <a:p>
            <a:pPr marL="0" lvl="4" indent="0" algn="l" defTabSz="910920" rtl="0" eaLnBrk="1" latinLnBrk="0" hangingPunct="1">
              <a:lnSpc>
                <a:spcPct val="125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48852" y="1746000"/>
            <a:ext cx="2636837" cy="47500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459052">
              <a:buClr>
                <a:schemeClr val="accent4"/>
              </a:buClr>
              <a:defRPr sz="1400"/>
            </a:lvl4pPr>
            <a:lvl5pPr marL="459052">
              <a:buClr>
                <a:schemeClr val="accent4"/>
              </a:buClr>
              <a:defRPr sz="1400"/>
            </a:lvl5pPr>
            <a:lvl6pPr marL="459052">
              <a:buClr>
                <a:schemeClr val="accent4"/>
              </a:buClr>
              <a:defRPr/>
            </a:lvl6pPr>
            <a:lvl7pPr marL="459052">
              <a:buClr>
                <a:schemeClr val="accent4"/>
              </a:buClr>
              <a:defRPr/>
            </a:lvl7pPr>
            <a:lvl8pPr marL="459052">
              <a:buClr>
                <a:schemeClr val="accent4"/>
              </a:buClr>
              <a:defRPr/>
            </a:lvl8pPr>
            <a:lvl9pPr marL="459052">
              <a:buClr>
                <a:schemeClr val="accent4"/>
              </a:buClr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715214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6054" y="1707109"/>
            <a:ext cx="4104456" cy="1043186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6501" y="2804359"/>
            <a:ext cx="4104456" cy="104400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3000" b="1">
                <a:solidFill>
                  <a:schemeClr val="bg2"/>
                </a:solidFill>
              </a:defRPr>
            </a:lvl1pPr>
            <a:lvl2pPr marL="45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3200" y="486064"/>
            <a:ext cx="2210400" cy="153888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48800" y="1809750"/>
            <a:ext cx="4068762" cy="46878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pic>
        <p:nvPicPr>
          <p:cNvPr id="8" name="Picture 7" descr="MEDIACOM_STRAPLINE_RGB_POS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600" y="6141665"/>
            <a:ext cx="1457728" cy="35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107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741534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83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596107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8800" y="1531940"/>
            <a:ext cx="3996000" cy="555625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5490" indent="0">
              <a:buNone/>
              <a:defRPr sz="2000" b="1"/>
            </a:lvl2pPr>
            <a:lvl3pPr marL="910920" indent="0">
              <a:buNone/>
              <a:defRPr sz="1800" b="1"/>
            </a:lvl3pPr>
            <a:lvl4pPr marL="1366401" indent="0">
              <a:buNone/>
              <a:defRPr sz="1600" b="1"/>
            </a:lvl4pPr>
            <a:lvl5pPr marL="1821860" indent="0">
              <a:buNone/>
              <a:defRPr sz="1600" b="1"/>
            </a:lvl5pPr>
            <a:lvl6pPr marL="2277324" indent="0">
              <a:buNone/>
              <a:defRPr sz="1600" b="1"/>
            </a:lvl6pPr>
            <a:lvl7pPr marL="2732792" indent="0">
              <a:buNone/>
              <a:defRPr sz="1600" b="1"/>
            </a:lvl7pPr>
            <a:lvl8pPr marL="3188258" indent="0">
              <a:buNone/>
              <a:defRPr sz="1600" b="1"/>
            </a:lvl8pPr>
            <a:lvl9pPr marL="364372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800" y="3857691"/>
            <a:ext cx="3996000" cy="264000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 baseline="0"/>
            </a:lvl7pPr>
            <a:lvl8pPr>
              <a:defRPr sz="1400" baseline="0"/>
            </a:lvl8pPr>
            <a:lvl9pPr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4150" y="1531940"/>
            <a:ext cx="3996000" cy="555625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5490" indent="0">
              <a:buNone/>
              <a:defRPr sz="2000" b="1"/>
            </a:lvl2pPr>
            <a:lvl3pPr marL="910920" indent="0">
              <a:buNone/>
              <a:defRPr sz="1800" b="1"/>
            </a:lvl3pPr>
            <a:lvl4pPr marL="1366401" indent="0">
              <a:buNone/>
              <a:defRPr sz="1600" b="1"/>
            </a:lvl4pPr>
            <a:lvl5pPr marL="1821860" indent="0">
              <a:buNone/>
              <a:defRPr sz="1600" b="1"/>
            </a:lvl5pPr>
            <a:lvl6pPr marL="2277324" indent="0">
              <a:buNone/>
              <a:defRPr sz="1600" b="1"/>
            </a:lvl6pPr>
            <a:lvl7pPr marL="2732792" indent="0">
              <a:buNone/>
              <a:defRPr sz="1600" b="1"/>
            </a:lvl7pPr>
            <a:lvl8pPr marL="3188258" indent="0">
              <a:buNone/>
              <a:defRPr sz="1600" b="1"/>
            </a:lvl8pPr>
            <a:lvl9pPr marL="3643727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4150" y="3857691"/>
            <a:ext cx="3996000" cy="264000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48800" y="2288879"/>
            <a:ext cx="3996000" cy="136750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824150" y="2288879"/>
            <a:ext cx="3996000" cy="136750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7415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41" y="390143"/>
            <a:ext cx="5374787" cy="101803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8852" y="1772484"/>
            <a:ext cx="4076701" cy="1953443"/>
          </a:xfrm>
        </p:spPr>
        <p:txBody>
          <a:bodyPr>
            <a:normAutofit/>
          </a:bodyPr>
          <a:lstStyle>
            <a:lvl1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1pPr>
            <a:lvl2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2pPr>
            <a:lvl3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3pPr>
            <a:lvl4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4pPr>
            <a:lvl5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716463" y="1809792"/>
            <a:ext cx="4104007" cy="4687887"/>
          </a:xfrm>
        </p:spPr>
        <p:txBody>
          <a:bodyPr/>
          <a:lstStyle>
            <a:lvl1pPr marL="0" marR="0" indent="0" algn="l" defTabSz="91092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27503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10"/>
          <p:cNvSpPr>
            <a:spLocks noGrp="1"/>
          </p:cNvSpPr>
          <p:nvPr>
            <p:ph type="media" sz="quarter" idx="14" hasCustomPrompt="1"/>
          </p:nvPr>
        </p:nvSpPr>
        <p:spPr>
          <a:xfrm>
            <a:off x="4716503" y="1809750"/>
            <a:ext cx="4104008" cy="468788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Insert Video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41" y="390143"/>
            <a:ext cx="5374787" cy="101803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8852" y="1772484"/>
            <a:ext cx="4076701" cy="1953443"/>
          </a:xfrm>
        </p:spPr>
        <p:txBody>
          <a:bodyPr>
            <a:normAutofit/>
          </a:bodyPr>
          <a:lstStyle>
            <a:lvl1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1pPr>
            <a:lvl2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2pPr>
            <a:lvl3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3pPr>
            <a:lvl4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4pPr>
            <a:lvl5pPr marL="0" indent="0" defTabSz="268849">
              <a:lnSpc>
                <a:spcPct val="100000"/>
              </a:lnSpc>
              <a:spcBef>
                <a:spcPts val="0"/>
              </a:spcBef>
              <a:buFontTx/>
              <a:buNone/>
              <a:defRPr sz="3000" b="1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4838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41" y="390142"/>
            <a:ext cx="5374787" cy="1018032"/>
          </a:xfrm>
        </p:spPr>
        <p:txBody>
          <a:bodyPr anchor="t" anchorCtr="0">
            <a:noAutofit/>
          </a:bodyPr>
          <a:lstStyle>
            <a:lvl1pPr algn="l">
              <a:defRPr sz="3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8852" y="1744473"/>
            <a:ext cx="2636837" cy="475161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459052">
              <a:buClr>
                <a:schemeClr val="accent4"/>
              </a:buClr>
              <a:defRPr sz="1400"/>
            </a:lvl4pPr>
            <a:lvl5pPr marL="459052">
              <a:buClr>
                <a:schemeClr val="accent4"/>
              </a:buClr>
              <a:defRPr sz="1400"/>
            </a:lvl5pPr>
            <a:lvl6pPr marL="459052">
              <a:buClr>
                <a:schemeClr val="accent4"/>
              </a:buClr>
              <a:defRPr/>
            </a:lvl6pPr>
            <a:lvl7pPr marL="459052">
              <a:buClr>
                <a:schemeClr val="accent4"/>
              </a:buClr>
              <a:defRPr/>
            </a:lvl7pPr>
            <a:lvl8pPr marL="459052">
              <a:buClr>
                <a:schemeClr val="accent4"/>
              </a:buClr>
              <a:defRPr/>
            </a:lvl8pPr>
            <a:lvl9pPr marL="459052">
              <a:buClr>
                <a:schemeClr val="accent4"/>
              </a:buClr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Picture Placeholder 6"/>
          <p:cNvSpPr>
            <a:spLocks noGrp="1" noChangeAspect="1"/>
          </p:cNvSpPr>
          <p:nvPr>
            <p:ph type="pic" sz="quarter" idx="15"/>
          </p:nvPr>
        </p:nvSpPr>
        <p:spPr>
          <a:xfrm>
            <a:off x="3263023" y="1809751"/>
            <a:ext cx="2654466" cy="214884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6"/>
          <p:cNvSpPr>
            <a:spLocks noGrp="1" noChangeAspect="1"/>
          </p:cNvSpPr>
          <p:nvPr>
            <p:ph type="pic" sz="quarter" idx="16"/>
          </p:nvPr>
        </p:nvSpPr>
        <p:spPr>
          <a:xfrm>
            <a:off x="6176665" y="1809751"/>
            <a:ext cx="2654466" cy="214884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780583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2"/>
          </p:nvPr>
        </p:nvSpPr>
        <p:spPr bwMode="gray">
          <a:xfrm>
            <a:off x="352425" y="3746495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651575" y="3746495"/>
            <a:ext cx="414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1958186" y="6368004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320903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41" y="390142"/>
            <a:ext cx="5374787" cy="1018032"/>
          </a:xfrm>
        </p:spPr>
        <p:txBody>
          <a:bodyPr anchor="t" anchorCtr="0">
            <a:noAutofit/>
          </a:bodyPr>
          <a:lstStyle>
            <a:lvl1pPr algn="l">
              <a:defRPr sz="3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686873" y="6497704"/>
            <a:ext cx="2133278" cy="276065"/>
          </a:xfrm>
        </p:spPr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Picture Placeholder 6"/>
          <p:cNvSpPr>
            <a:spLocks noGrp="1" noChangeAspect="1"/>
          </p:cNvSpPr>
          <p:nvPr>
            <p:ph type="pic" sz="quarter" idx="13"/>
          </p:nvPr>
        </p:nvSpPr>
        <p:spPr>
          <a:xfrm>
            <a:off x="3247528" y="1809751"/>
            <a:ext cx="1860847" cy="219456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429294" y="1809751"/>
            <a:ext cx="3390894" cy="46878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8852" y="1746000"/>
            <a:ext cx="2636837" cy="47500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459052">
              <a:buClr>
                <a:schemeClr val="accent4"/>
              </a:buClr>
              <a:defRPr sz="1400"/>
            </a:lvl4pPr>
            <a:lvl5pPr marL="459052">
              <a:buClr>
                <a:schemeClr val="accent4"/>
              </a:buClr>
              <a:defRPr sz="1400"/>
            </a:lvl5pPr>
            <a:lvl6pPr marL="459052">
              <a:buClr>
                <a:schemeClr val="accent4"/>
              </a:buClr>
              <a:defRPr/>
            </a:lvl6pPr>
            <a:lvl7pPr marL="459052">
              <a:buClr>
                <a:schemeClr val="accent4"/>
              </a:buClr>
              <a:defRPr/>
            </a:lvl7pPr>
            <a:lvl8pPr marL="459052">
              <a:buClr>
                <a:schemeClr val="accent4"/>
              </a:buClr>
              <a:defRPr/>
            </a:lvl8pPr>
            <a:lvl9pPr marL="459052">
              <a:buClr>
                <a:schemeClr val="accent4"/>
              </a:buClr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Picture Placeholder 6"/>
          <p:cNvSpPr>
            <a:spLocks noGrp="1" noChangeAspect="1"/>
          </p:cNvSpPr>
          <p:nvPr>
            <p:ph type="pic" sz="quarter" idx="17"/>
          </p:nvPr>
        </p:nvSpPr>
        <p:spPr>
          <a:xfrm>
            <a:off x="3247528" y="4303079"/>
            <a:ext cx="1860847" cy="219456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877329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&amp; Text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341" y="390143"/>
            <a:ext cx="5374787" cy="1018032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622489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Picture Placeholder 6"/>
          <p:cNvSpPr>
            <a:spLocks noGrp="1" noChangeAspect="1"/>
          </p:cNvSpPr>
          <p:nvPr>
            <p:ph type="pic" sz="quarter" idx="13"/>
          </p:nvPr>
        </p:nvSpPr>
        <p:spPr>
          <a:xfrm>
            <a:off x="348838" y="1809751"/>
            <a:ext cx="2654466" cy="214884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8" name="Picture Placeholder 6"/>
          <p:cNvSpPr>
            <a:spLocks noGrp="1" noChangeAspect="1"/>
          </p:cNvSpPr>
          <p:nvPr>
            <p:ph type="pic" sz="quarter" idx="15"/>
          </p:nvPr>
        </p:nvSpPr>
        <p:spPr>
          <a:xfrm>
            <a:off x="3263023" y="1809751"/>
            <a:ext cx="2654466" cy="214884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6"/>
          <p:cNvSpPr>
            <a:spLocks noGrp="1" noChangeAspect="1"/>
          </p:cNvSpPr>
          <p:nvPr>
            <p:ph type="pic" sz="quarter" idx="16"/>
          </p:nvPr>
        </p:nvSpPr>
        <p:spPr>
          <a:xfrm>
            <a:off x="6176665" y="1809751"/>
            <a:ext cx="2654466" cy="214884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48800" y="4286322"/>
            <a:ext cx="2653200" cy="857265"/>
          </a:xfrm>
        </p:spPr>
        <p:txBody>
          <a:bodyPr>
            <a:norm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None/>
              <a:defRPr sz="1400"/>
            </a:lvl5pPr>
            <a:lvl6pPr marL="0" indent="0">
              <a:buNone/>
              <a:defRPr sz="1400"/>
            </a:lvl6pPr>
            <a:lvl7pPr marL="0" indent="0">
              <a:buNone/>
              <a:defRPr sz="1400"/>
            </a:lvl7pPr>
            <a:lvl8pPr marL="0" indent="0">
              <a:buNone/>
              <a:defRPr sz="1400"/>
            </a:lvl8pPr>
            <a:lvl9pPr marL="0" indent="0">
              <a:buNone/>
              <a:defRPr sz="1400"/>
            </a:lvl9pPr>
          </a:lstStyle>
          <a:p>
            <a:pPr lvl="0"/>
            <a:r>
              <a:rPr lang="en-GB" noProof="0" dirty="0" smtClean="0"/>
              <a:t>Click to add text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263023" y="4286322"/>
            <a:ext cx="2653200" cy="857265"/>
          </a:xfrm>
        </p:spPr>
        <p:txBody>
          <a:bodyPr>
            <a:norm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None/>
              <a:defRPr sz="1400"/>
            </a:lvl5pPr>
            <a:lvl6pPr marL="0" indent="0">
              <a:buNone/>
              <a:defRPr sz="1400"/>
            </a:lvl6pPr>
            <a:lvl7pPr marL="0" indent="0">
              <a:buNone/>
              <a:defRPr sz="1400"/>
            </a:lvl7pPr>
            <a:lvl8pPr marL="0" indent="0">
              <a:buNone/>
              <a:defRPr sz="1400"/>
            </a:lvl8pPr>
            <a:lvl9pPr marL="0" indent="0">
              <a:buNone/>
              <a:defRPr sz="1400"/>
            </a:lvl9pPr>
          </a:lstStyle>
          <a:p>
            <a:pPr lvl="0"/>
            <a:r>
              <a:rPr lang="en-GB" noProof="0" dirty="0" smtClean="0"/>
              <a:t>Click to add text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76665" y="4286322"/>
            <a:ext cx="2653200" cy="857265"/>
          </a:xfrm>
        </p:spPr>
        <p:txBody>
          <a:bodyPr>
            <a:normAutofit/>
          </a:bodyPr>
          <a:lstStyle>
            <a:lvl1pPr>
              <a:defRPr sz="1400"/>
            </a:lvl1pPr>
            <a:lvl2pPr marL="0" indent="0">
              <a:buNone/>
              <a:defRPr sz="1400"/>
            </a:lvl2pPr>
            <a:lvl3pPr marL="0" indent="0">
              <a:buNone/>
              <a:defRPr sz="1400"/>
            </a:lvl3pPr>
            <a:lvl4pPr marL="0" indent="0">
              <a:buNone/>
              <a:defRPr sz="1400"/>
            </a:lvl4pPr>
            <a:lvl5pPr marL="0" indent="0">
              <a:buNone/>
              <a:defRPr sz="1400"/>
            </a:lvl5pPr>
            <a:lvl6pPr marL="0" indent="0">
              <a:buNone/>
              <a:defRPr sz="1400"/>
            </a:lvl6pPr>
            <a:lvl7pPr marL="0" indent="0">
              <a:buNone/>
              <a:defRPr sz="1400"/>
            </a:lvl7pPr>
            <a:lvl8pPr marL="0" indent="0">
              <a:buNone/>
              <a:defRPr sz="1400"/>
            </a:lvl8pPr>
            <a:lvl9pPr marL="0" indent="0">
              <a:buNone/>
              <a:defRPr sz="1400"/>
            </a:lvl9pPr>
          </a:lstStyle>
          <a:p>
            <a:pPr lvl="0"/>
            <a:r>
              <a:rPr lang="en-GB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3512400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16501" y="1809792"/>
            <a:ext cx="4104006" cy="46878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8838" y="1707109"/>
            <a:ext cx="4070722" cy="1548000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defRPr sz="3000" b="1" cap="none" baseline="0"/>
            </a:lvl1pPr>
          </a:lstStyle>
          <a:p>
            <a:r>
              <a:rPr lang="en-GB" noProof="0" dirty="0" smtClean="0"/>
              <a:t>One line of text</a:t>
            </a:r>
            <a:br>
              <a:rPr lang="en-GB" noProof="0" dirty="0" smtClean="0"/>
            </a:br>
            <a:r>
              <a:rPr lang="en-GB" noProof="0" dirty="0" smtClean="0"/>
              <a:t>Two lines of text</a:t>
            </a:r>
            <a:br>
              <a:rPr lang="en-GB" noProof="0" dirty="0" smtClean="0"/>
            </a:br>
            <a:r>
              <a:rPr lang="en-GB" noProof="0" dirty="0" smtClean="0"/>
              <a:t>Three lines of text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2167" y="617108"/>
            <a:ext cx="2208604" cy="153887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ru-RU" smtClean="0">
                <a:solidFill>
                  <a:srgbClr val="000000"/>
                </a:solidFill>
              </a:rPr>
              <a:t>by MediaCom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ost Campaign Repor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CA359-9ABD-43CE-BBB7-A244B4D4F457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68478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genda Slide Option 1">
    <p:bg bwMode="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36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38" name="Rectangle 37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83"/>
            <a:ext cx="4140000" cy="4608568"/>
          </a:xfrm>
        </p:spPr>
        <p:txBody>
          <a:bodyPr/>
          <a:lstStyle>
            <a:lvl1pPr marL="448290" indent="-44829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 typeface="+mj-lt"/>
              <a:buAutoNum type="arabicPeriod"/>
              <a:defRPr b="0">
                <a:solidFill>
                  <a:schemeClr val="accent1"/>
                </a:solidFill>
              </a:defRPr>
            </a:lvl1pPr>
            <a:lvl2pPr marL="34159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83"/>
            <a:ext cx="4140000" cy="4608568"/>
          </a:xfrm>
        </p:spPr>
        <p:txBody>
          <a:bodyPr/>
          <a:lstStyle>
            <a:lvl1pPr marL="448290" indent="-44829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 typeface="+mj-lt"/>
              <a:buAutoNum type="arabicPeriod" startAt="7"/>
              <a:defRPr b="0">
                <a:solidFill>
                  <a:schemeClr val="accent1"/>
                </a:solidFill>
              </a:defRPr>
            </a:lvl1pPr>
            <a:lvl2pPr marL="34159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0915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699986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79550" indent="-341595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4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646933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38" y="1600150"/>
            <a:ext cx="8424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869488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360038" y="2067649"/>
            <a:ext cx="8424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731253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6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38" y="2067611"/>
            <a:ext cx="8424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38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4057996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18" name="Rectangle 17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34414"/>
            <a:ext cx="9144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76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291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1940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 Slide">
    <p:bg bwMode="ltGray"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135"/>
          <p:cNvGrpSpPr>
            <a:grpSpLocks noChangeAspect="1"/>
          </p:cNvGrpSpPr>
          <p:nvPr userDrawn="1"/>
        </p:nvGrpSpPr>
        <p:grpSpPr bwMode="black">
          <a:xfrm>
            <a:off x="5619752" y="1581490"/>
            <a:ext cx="3228853" cy="604800"/>
            <a:chOff x="1427163" y="-1920875"/>
            <a:chExt cx="7881938" cy="1476375"/>
          </a:xfrm>
        </p:grpSpPr>
        <p:sp>
          <p:nvSpPr>
            <p:cNvPr id="13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grpSp>
          <p:nvGrpSpPr>
            <p:cNvPr id="3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14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4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092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3" name="Title 1"/>
          <p:cNvSpPr>
            <a:spLocks noGrp="1"/>
          </p:cNvSpPr>
          <p:nvPr>
            <p:ph type="ctrTitle"/>
          </p:nvPr>
        </p:nvSpPr>
        <p:spPr>
          <a:xfrm>
            <a:off x="360037" y="360000"/>
            <a:ext cx="7298102" cy="10878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0920" rtl="0" eaLnBrk="1" latinLnBrk="0" hangingPunct="1">
              <a:lnSpc>
                <a:spcPts val="2962"/>
              </a:lnSpc>
              <a:spcBef>
                <a:spcPts val="0"/>
              </a:spcBef>
              <a:defRPr lang="en-GB" sz="3000" b="1" kern="0">
                <a:solidFill>
                  <a:srgbClr val="00519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5" name="Straight Connector 13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812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6054" y="1707109"/>
            <a:ext cx="4104456" cy="1043186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6501" y="2804359"/>
            <a:ext cx="4104456" cy="104400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3000" b="1">
                <a:solidFill>
                  <a:schemeClr val="bg2"/>
                </a:solidFill>
              </a:defRPr>
            </a:lvl1pPr>
            <a:lvl2pPr marL="455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0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1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7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2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13200" y="486064"/>
            <a:ext cx="2210400" cy="153888"/>
          </a:xfrm>
          <a:prstGeom prst="rect">
            <a:avLst/>
          </a:prstGeom>
        </p:spPr>
        <p:txBody>
          <a:bodyPr lIns="91098" tIns="45568" rIns="91098" bIns="45568"/>
          <a:lstStyle/>
          <a:p>
            <a:pPr defTabSz="910920"/>
            <a:r>
              <a:rPr lang="en-US" smtClean="0">
                <a:solidFill>
                  <a:srgbClr val="000000"/>
                </a:solidFill>
              </a:rPr>
              <a:t>by MediaCom, 00.00.0000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48800" y="1809750"/>
            <a:ext cx="4068762" cy="46878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pic>
        <p:nvPicPr>
          <p:cNvPr id="8" name="Picture 7" descr="MEDIACOM_STRAPLINE_RGB_POS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7600" y="6141665"/>
            <a:ext cx="1457728" cy="35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62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slideLayout" Target="../slideLayouts/slideLayout77.xml"/><Relationship Id="rId47" Type="http://schemas.openxmlformats.org/officeDocument/2006/relationships/slideLayout" Target="../slideLayouts/slideLayout82.xml"/><Relationship Id="rId50" Type="http://schemas.openxmlformats.org/officeDocument/2006/relationships/slideLayout" Target="../slideLayouts/slideLayout85.xml"/><Relationship Id="rId55" Type="http://schemas.openxmlformats.org/officeDocument/2006/relationships/slideLayout" Target="../slideLayouts/slideLayout90.xml"/><Relationship Id="rId6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76.xml"/><Relationship Id="rId54" Type="http://schemas.openxmlformats.org/officeDocument/2006/relationships/slideLayout" Target="../slideLayouts/slideLayout89.xml"/><Relationship Id="rId6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slideLayout" Target="../slideLayouts/slideLayout80.xml"/><Relationship Id="rId53" Type="http://schemas.openxmlformats.org/officeDocument/2006/relationships/slideLayout" Target="../slideLayouts/slideLayout88.xml"/><Relationship Id="rId58" Type="http://schemas.openxmlformats.org/officeDocument/2006/relationships/slideLayout" Target="../slideLayouts/slideLayout93.xml"/><Relationship Id="rId66" Type="http://schemas.openxmlformats.org/officeDocument/2006/relationships/theme" Target="../theme/theme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49" Type="http://schemas.openxmlformats.org/officeDocument/2006/relationships/slideLayout" Target="../slideLayouts/slideLayout84.xml"/><Relationship Id="rId57" Type="http://schemas.openxmlformats.org/officeDocument/2006/relationships/slideLayout" Target="../slideLayouts/slideLayout92.xml"/><Relationship Id="rId61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slideLayout" Target="../slideLayouts/slideLayout79.xml"/><Relationship Id="rId52" Type="http://schemas.openxmlformats.org/officeDocument/2006/relationships/slideLayout" Target="../slideLayouts/slideLayout87.xml"/><Relationship Id="rId60" Type="http://schemas.openxmlformats.org/officeDocument/2006/relationships/slideLayout" Target="../slideLayouts/slideLayout95.xml"/><Relationship Id="rId6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slideLayout" Target="../slideLayouts/slideLayout78.xml"/><Relationship Id="rId48" Type="http://schemas.openxmlformats.org/officeDocument/2006/relationships/slideLayout" Target="../slideLayouts/slideLayout83.xml"/><Relationship Id="rId56" Type="http://schemas.openxmlformats.org/officeDocument/2006/relationships/slideLayout" Target="../slideLayouts/slideLayout91.xml"/><Relationship Id="rId64" Type="http://schemas.openxmlformats.org/officeDocument/2006/relationships/slideLayout" Target="../slideLayouts/slideLayout99.xml"/><Relationship Id="rId8" Type="http://schemas.openxmlformats.org/officeDocument/2006/relationships/slideLayout" Target="../slideLayouts/slideLayout43.xml"/><Relationship Id="rId51" Type="http://schemas.openxmlformats.org/officeDocument/2006/relationships/slideLayout" Target="../slideLayouts/slideLayout86.xml"/><Relationship Id="rId3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slideLayout" Target="../slideLayouts/slideLayout81.xml"/><Relationship Id="rId59" Type="http://schemas.openxmlformats.org/officeDocument/2006/relationships/slideLayout" Target="../slideLayouts/slideLayout9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25" name="Freeform 24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7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pSp>
        <p:nvGrpSpPr>
          <p:cNvPr id="4" name="Group 3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43" name="Rectangle 42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4" name="think-cell Slide" r:id="rId39" imgW="357" imgH="357" progId="">
                  <p:embed/>
                </p:oleObj>
              </mc:Choice>
              <mc:Fallback>
                <p:oleObj name="think-cell Slide" r:id="rId39" imgW="357" imgH="357" progId="">
                  <p:embed/>
                  <p:pic>
                    <p:nvPicPr>
                      <p:cNvPr id="46" name="Object 4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195859"/>
            <a:ext cx="5868000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1292480"/>
            <a:ext cx="8439150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957694" y="6359459"/>
            <a:ext cx="2827532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en-US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791575" y="6359459"/>
            <a:ext cx="252000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nl-NL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271D7EE-025D-44EF-94E5-6C8AC9194795}" type="slidenum">
              <a:rPr lang="en-GB" smtClean="0"/>
              <a:t>‹#›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78" name="Straight Connector 7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tangle 7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72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122" name="Pentagon 28"/>
          <p:cNvSpPr/>
          <p:nvPr/>
        </p:nvSpPr>
        <p:spPr bwMode="gray">
          <a:xfrm>
            <a:off x="-1" y="6243917"/>
            <a:ext cx="1734798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 dirty="0">
              <a:solidFill>
                <a:schemeClr val="tx1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60" name="Multiply 59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  <p:pic>
        <p:nvPicPr>
          <p:cNvPr id="33800" name="Picture 8" descr="C:\Users\shustron\Desktop\Лого SalesCon2.png"/>
          <p:cNvPicPr>
            <a:picLocks noChangeAspect="1" noChangeArrowheads="1"/>
          </p:cNvPicPr>
          <p:nvPr userDrawn="1"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217" y="6329902"/>
            <a:ext cx="1347386" cy="442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1739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4063" r:id="rId35"/>
  </p:sldLayoutIdLst>
  <p:txStyles>
    <p:titleStyle>
      <a:lvl1pPr marL="0" algn="l" defTabSz="1219170" rtl="0" eaLnBrk="1" latinLnBrk="0" hangingPunct="1">
        <a:lnSpc>
          <a:spcPct val="90000"/>
        </a:lnSpc>
        <a:spcBef>
          <a:spcPct val="0"/>
        </a:spcBef>
        <a:buNone/>
        <a:defRPr lang="en-GB" sz="3000" b="1" ker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Tx/>
        <a:buBlip>
          <a:blip r:embed="rId4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649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59976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8"/>
          <p:cNvGrpSpPr/>
          <p:nvPr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12" name="Rectangle 11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black">
            <a:xfrm>
              <a:off x="0" y="6398814"/>
              <a:ext cx="9144000" cy="72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38" y="1600150"/>
            <a:ext cx="8424000" cy="46085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9376" y="6597822"/>
            <a:ext cx="4130339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0920" rtl="0" eaLnBrk="1" latinLnBrk="0" hangingPunct="1">
              <a:defRPr lang="en-US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dirty="0"/>
              <a:t>Business unit |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4000" y="6597822"/>
            <a:ext cx="252000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0920" rtl="0" eaLnBrk="1" latinLnBrk="0" hangingPunct="1">
              <a:defRPr lang="nl-NL" sz="1000" b="1" kern="1200" smtClean="0">
                <a:solidFill>
                  <a:srgbClr val="868688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5" name="Group 33"/>
          <p:cNvGrpSpPr>
            <a:grpSpLocks noChangeAspect="1"/>
          </p:cNvGrpSpPr>
          <p:nvPr/>
        </p:nvGrpSpPr>
        <p:grpSpPr bwMode="black">
          <a:xfrm>
            <a:off x="7015590" y="372869"/>
            <a:ext cx="1779160" cy="2592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92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3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4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5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6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7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8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1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0920"/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5" name="Rectangle 24"/>
          <p:cNvSpPr/>
          <p:nvPr/>
        </p:nvSpPr>
        <p:spPr bwMode="black">
          <a:xfrm>
            <a:off x="0" y="1429238"/>
            <a:ext cx="9144000" cy="3600"/>
          </a:xfrm>
          <a:prstGeom prst="rect">
            <a:avLst/>
          </a:prstGeom>
          <a:solidFill>
            <a:srgbClr val="B7B9BA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098" tIns="45568" rIns="91098" bIns="45568" rtlCol="0" anchor="ctr"/>
          <a:lstStyle/>
          <a:p>
            <a:pPr algn="ctr" defTabSz="910920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43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8" r:id="rId32"/>
    <p:sldLayoutId id="2147483819" r:id="rId33"/>
    <p:sldLayoutId id="2147483820" r:id="rId34"/>
    <p:sldLayoutId id="2147483821" r:id="rId35"/>
    <p:sldLayoutId id="2147483822" r:id="rId36"/>
    <p:sldLayoutId id="2147483823" r:id="rId37"/>
    <p:sldLayoutId id="2147483824" r:id="rId38"/>
    <p:sldLayoutId id="2147483825" r:id="rId39"/>
    <p:sldLayoutId id="2147483826" r:id="rId40"/>
    <p:sldLayoutId id="2147483827" r:id="rId41"/>
    <p:sldLayoutId id="2147483828" r:id="rId42"/>
    <p:sldLayoutId id="2147483829" r:id="rId43"/>
    <p:sldLayoutId id="2147483830" r:id="rId44"/>
    <p:sldLayoutId id="2147483831" r:id="rId45"/>
    <p:sldLayoutId id="2147483832" r:id="rId46"/>
    <p:sldLayoutId id="2147483833" r:id="rId47"/>
    <p:sldLayoutId id="2147483834" r:id="rId48"/>
    <p:sldLayoutId id="2147483835" r:id="rId49"/>
    <p:sldLayoutId id="2147483836" r:id="rId50"/>
    <p:sldLayoutId id="2147483837" r:id="rId51"/>
    <p:sldLayoutId id="2147483838" r:id="rId52"/>
    <p:sldLayoutId id="2147483839" r:id="rId53"/>
    <p:sldLayoutId id="2147483840" r:id="rId54"/>
    <p:sldLayoutId id="2147483841" r:id="rId55"/>
    <p:sldLayoutId id="2147483842" r:id="rId56"/>
    <p:sldLayoutId id="2147483843" r:id="rId57"/>
    <p:sldLayoutId id="2147483844" r:id="rId58"/>
    <p:sldLayoutId id="2147483845" r:id="rId59"/>
    <p:sldLayoutId id="2147483846" r:id="rId60"/>
    <p:sldLayoutId id="2147483847" r:id="rId61"/>
    <p:sldLayoutId id="2147483848" r:id="rId62"/>
    <p:sldLayoutId id="2147483849" r:id="rId63"/>
    <p:sldLayoutId id="2147483850" r:id="rId64"/>
    <p:sldLayoutId id="2147483851" r:id="rId6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0920" rtl="0" eaLnBrk="1" latinLnBrk="0" hangingPunct="1">
        <a:lnSpc>
          <a:spcPts val="2500"/>
        </a:lnSpc>
        <a:spcBef>
          <a:spcPct val="0"/>
        </a:spcBef>
        <a:buNone/>
        <a:defRPr lang="en-GB" sz="2500" b="1" kern="0">
          <a:solidFill>
            <a:srgbClr val="005192"/>
          </a:solidFill>
          <a:latin typeface="Arial"/>
          <a:ea typeface="+mn-ea"/>
          <a:cs typeface="+mn-cs"/>
        </a:defRPr>
      </a:lvl1pPr>
    </p:titleStyle>
    <p:bodyStyle>
      <a:lvl1pPr marL="0" indent="0" algn="l" defTabSz="910920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9316" indent="-179316" algn="l" defTabSz="91092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632" indent="-179316" algn="l" defTabSz="91092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7698" indent="-179316" algn="l" defTabSz="91092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7266" indent="-179316" algn="l" defTabSz="91092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05060" indent="-227726" algn="l" defTabSz="910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0526" indent="-227726" algn="l" defTabSz="910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5993" indent="-227726" algn="l" defTabSz="910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1455" indent="-227726" algn="l" defTabSz="9109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90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920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01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860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24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792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258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727" algn="l" defTabSz="9109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white">
          <a:xfrm>
            <a:off x="0" y="6406014"/>
            <a:ext cx="9144000" cy="4519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  <a:prstGeom prst="rect">
            <a:avLst/>
          </a:prstGeom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1" y="1600148"/>
            <a:ext cx="8424000" cy="46085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26" y="6597822"/>
            <a:ext cx="8414590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en-US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t>Strategy Update 2013</a:t>
            </a:r>
            <a:endParaRPr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4000" y="6597822"/>
            <a:ext cx="252000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nl-NL" sz="1000" b="1" kern="1200" smtClean="0">
                <a:solidFill>
                  <a:srgbClr val="868688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grpSp>
        <p:nvGrpSpPr>
          <p:cNvPr id="4" name="Group 63"/>
          <p:cNvGrpSpPr/>
          <p:nvPr/>
        </p:nvGrpSpPr>
        <p:grpSpPr bwMode="gray">
          <a:xfrm>
            <a:off x="-2338348" y="0"/>
            <a:ext cx="2059036" cy="4063864"/>
            <a:chOff x="-3298560" y="0"/>
            <a:chExt cx="2059035" cy="4063864"/>
          </a:xfrm>
        </p:grpSpPr>
        <p:sp>
          <p:nvSpPr>
            <p:cNvPr id="16" name="TextBox 15"/>
            <p:cNvSpPr txBox="1"/>
            <p:nvPr userDrawn="1"/>
          </p:nvSpPr>
          <p:spPr bwMode="gray">
            <a:xfrm>
              <a:off x="-1960876" y="1195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-2217425" y="0"/>
              <a:ext cx="177800" cy="177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-2217425" y="228592"/>
              <a:ext cx="177800" cy="177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-2217425" y="457184"/>
              <a:ext cx="177800" cy="1778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 bwMode="gray">
            <a:xfrm>
              <a:off x="-2217425" y="1142960"/>
              <a:ext cx="177800" cy="177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 bwMode="gray">
            <a:xfrm>
              <a:off x="-2217425" y="1371552"/>
              <a:ext cx="177800" cy="177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-2217425" y="1600144"/>
              <a:ext cx="177800" cy="177800"/>
            </a:xfrm>
            <a:prstGeom prst="rect">
              <a:avLst/>
            </a:prstGeom>
            <a:solidFill>
              <a:srgbClr val="00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-2217425" y="1828736"/>
              <a:ext cx="177800" cy="177800"/>
            </a:xfrm>
            <a:prstGeom prst="rect">
              <a:avLst/>
            </a:prstGeom>
            <a:solidFill>
              <a:srgbClr val="55BE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-2217425" y="2057328"/>
              <a:ext cx="177800" cy="177800"/>
            </a:xfrm>
            <a:prstGeom prst="rect">
              <a:avLst/>
            </a:prstGeom>
            <a:solidFill>
              <a:srgbClr val="446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-2217425" y="2285920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TextBox 25"/>
            <p:cNvSpPr txBox="1"/>
            <p:nvPr userDrawn="1"/>
          </p:nvSpPr>
          <p:spPr bwMode="gray">
            <a:xfrm>
              <a:off x="-1960876" y="229787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27" name="TextBox 26"/>
            <p:cNvSpPr txBox="1"/>
            <p:nvPr userDrawn="1"/>
          </p:nvSpPr>
          <p:spPr bwMode="gray">
            <a:xfrm>
              <a:off x="-1960876" y="206928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68-105-125</a:t>
              </a:r>
            </a:p>
          </p:txBody>
        </p:sp>
        <p:sp>
          <p:nvSpPr>
            <p:cNvPr id="28" name="TextBox 27"/>
            <p:cNvSpPr txBox="1"/>
            <p:nvPr userDrawn="1"/>
          </p:nvSpPr>
          <p:spPr bwMode="gray">
            <a:xfrm>
              <a:off x="-1960876" y="184069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85-190-207</a:t>
              </a:r>
            </a:p>
          </p:txBody>
        </p:sp>
        <p:sp>
          <p:nvSpPr>
            <p:cNvPr id="29" name="TextBox 28"/>
            <p:cNvSpPr txBox="1"/>
            <p:nvPr userDrawn="1"/>
          </p:nvSpPr>
          <p:spPr bwMode="gray">
            <a:xfrm>
              <a:off x="-1960876" y="161210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46-187</a:t>
              </a:r>
            </a:p>
          </p:txBody>
        </p:sp>
        <p:sp>
          <p:nvSpPr>
            <p:cNvPr id="30" name="TextBox 29"/>
            <p:cNvSpPr txBox="1"/>
            <p:nvPr userDrawn="1"/>
          </p:nvSpPr>
          <p:spPr bwMode="gray">
            <a:xfrm>
              <a:off x="-1960876" y="138350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31" name="TextBox 30"/>
            <p:cNvSpPr txBox="1"/>
            <p:nvPr userDrawn="1"/>
          </p:nvSpPr>
          <p:spPr bwMode="gray">
            <a:xfrm>
              <a:off x="-1960876" y="115491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 bwMode="gray">
            <a:xfrm>
              <a:off x="-1960876" y="46914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33" name="TextBox 32"/>
            <p:cNvSpPr txBox="1"/>
            <p:nvPr userDrawn="1"/>
          </p:nvSpPr>
          <p:spPr bwMode="gray">
            <a:xfrm>
              <a:off x="-1960876" y="24054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00-000</a:t>
              </a:r>
            </a:p>
          </p:txBody>
        </p:sp>
        <p:sp>
          <p:nvSpPr>
            <p:cNvPr id="34" name="Rectangle 33"/>
            <p:cNvSpPr/>
            <p:nvPr userDrawn="1"/>
          </p:nvSpPr>
          <p:spPr bwMode="gray">
            <a:xfrm>
              <a:off x="-2217425" y="685776"/>
              <a:ext cx="177800" cy="1778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5" name="TextBox 34"/>
            <p:cNvSpPr txBox="1"/>
            <p:nvPr userDrawn="1"/>
          </p:nvSpPr>
          <p:spPr bwMode="gray">
            <a:xfrm>
              <a:off x="-1960876" y="69773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-2217425" y="2743104"/>
              <a:ext cx="177800" cy="1778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7" name="TextBox 36"/>
            <p:cNvSpPr txBox="1"/>
            <p:nvPr userDrawn="1"/>
          </p:nvSpPr>
          <p:spPr bwMode="gray">
            <a:xfrm>
              <a:off x="-1960876" y="275506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139-197</a:t>
              </a: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-2217425" y="2971696"/>
              <a:ext cx="177800" cy="1778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9" name="TextBox 38"/>
            <p:cNvSpPr txBox="1"/>
            <p:nvPr userDrawn="1"/>
          </p:nvSpPr>
          <p:spPr bwMode="gray">
            <a:xfrm>
              <a:off x="-1960876" y="2983652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000-081-146</a:t>
              </a: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-2217425" y="3200288"/>
              <a:ext cx="177800" cy="177800"/>
            </a:xfrm>
            <a:prstGeom prst="rect">
              <a:avLst/>
            </a:prstGeom>
            <a:solidFill>
              <a:srgbClr val="868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1" name="TextBox 40"/>
            <p:cNvSpPr txBox="1"/>
            <p:nvPr userDrawn="1"/>
          </p:nvSpPr>
          <p:spPr bwMode="gray">
            <a:xfrm>
              <a:off x="-1960876" y="3212244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34-134-136</a:t>
              </a: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-2217425" y="3428880"/>
              <a:ext cx="177800" cy="177800"/>
            </a:xfrm>
            <a:prstGeom prst="rect">
              <a:avLst/>
            </a:prstGeom>
            <a:solidFill>
              <a:srgbClr val="B7B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3" name="TextBox 42"/>
            <p:cNvSpPr txBox="1"/>
            <p:nvPr userDrawn="1"/>
          </p:nvSpPr>
          <p:spPr bwMode="gray">
            <a:xfrm>
              <a:off x="-1960876" y="3440836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3-185-186</a:t>
              </a: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-2217425" y="3657472"/>
              <a:ext cx="177800" cy="177800"/>
            </a:xfrm>
            <a:prstGeom prst="rect">
              <a:avLst/>
            </a:prstGeom>
            <a:solidFill>
              <a:srgbClr val="B9C9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5" name="TextBox 44"/>
            <p:cNvSpPr txBox="1"/>
            <p:nvPr userDrawn="1"/>
          </p:nvSpPr>
          <p:spPr bwMode="gray">
            <a:xfrm>
              <a:off x="-1960876" y="3669428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185-201-208</a:t>
              </a: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-2217425" y="3886064"/>
              <a:ext cx="177800" cy="1778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 bwMode="gray">
            <a:xfrm>
              <a:off x="-1960876" y="3898020"/>
              <a:ext cx="72135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255-255-255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 bwMode="gray">
            <a:xfrm>
              <a:off x="-3298560" y="11956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1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 bwMode="gray">
            <a:xfrm>
              <a:off x="-3298560" y="229787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6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 bwMode="gray">
            <a:xfrm>
              <a:off x="-3298560" y="2069284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5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 bwMode="gray">
            <a:xfrm>
              <a:off x="-3298560" y="1840692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4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 bwMode="gray">
            <a:xfrm>
              <a:off x="-3298560" y="1612100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3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 bwMode="gray">
            <a:xfrm>
              <a:off x="-3298560" y="1383508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2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 bwMode="gray">
            <a:xfrm>
              <a:off x="-3298560" y="1154916"/>
              <a:ext cx="41197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dirty="0" smtClean="0">
                  <a:solidFill>
                    <a:srgbClr val="000000"/>
                  </a:solidFill>
                </a:rPr>
                <a:t>Color 1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 bwMode="gray">
            <a:xfrm>
              <a:off x="-3298560" y="469140"/>
              <a:ext cx="63158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D2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 bwMode="gray">
            <a:xfrm>
              <a:off x="-3298560" y="240548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1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 bwMode="gray">
            <a:xfrm>
              <a:off x="-3298560" y="697732"/>
              <a:ext cx="60914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Bk L2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 bwMode="gray">
            <a:xfrm>
              <a:off x="-3298560" y="2755060"/>
              <a:ext cx="34144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Hyper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 bwMode="gray">
            <a:xfrm>
              <a:off x="-3298560" y="2983652"/>
              <a:ext cx="49051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F. Hyper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 bwMode="gray">
            <a:xfrm>
              <a:off x="-3298560" y="3212244"/>
              <a:ext cx="44723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D2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 bwMode="gray">
            <a:xfrm>
              <a:off x="-3298560" y="3440836"/>
              <a:ext cx="42479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Text L2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 bwMode="gray">
            <a:xfrm>
              <a:off x="-3298560" y="3669428"/>
              <a:ext cx="75020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 bwMode="gray">
            <a:xfrm>
              <a:off x="-3298560" y="3898020"/>
              <a:ext cx="997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Agenda main 2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922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  <p:sldLayoutId id="2147484149" r:id="rId15"/>
    <p:sldLayoutId id="2147484150" r:id="rId16"/>
    <p:sldLayoutId id="2147484151" r:id="rId17"/>
    <p:sldLayoutId id="2147484152" r:id="rId18"/>
    <p:sldLayoutId id="2147484153" r:id="rId19"/>
    <p:sldLayoutId id="2147484154" r:id="rId20"/>
    <p:sldLayoutId id="2147484155" r:id="rId21"/>
    <p:sldLayoutId id="2147484156" r:id="rId22"/>
    <p:sldLayoutId id="2147484157" r:id="rId23"/>
    <p:sldLayoutId id="2147484158" r:id="rId24"/>
    <p:sldLayoutId id="2147484159" r:id="rId25"/>
    <p:sldLayoutId id="2147484160" r:id="rId26"/>
    <p:sldLayoutId id="2147484161" r:id="rId27"/>
    <p:sldLayoutId id="2147484162" r:id="rId28"/>
    <p:sldLayoutId id="2147484163" r:id="rId29"/>
    <p:sldLayoutId id="2147484164" r:id="rId30"/>
    <p:sldLayoutId id="2147484165" r:id="rId31"/>
    <p:sldLayoutId id="2147484166" r:id="rId32"/>
    <p:sldLayoutId id="2147484167" r:id="rId33"/>
    <p:sldLayoutId id="2147484168" r:id="rId34"/>
    <p:sldLayoutId id="2147484169" r:id="rId35"/>
  </p:sldLayoutIdLst>
  <p:hf sldNum="0" hdr="0" ftr="0" dt="0"/>
  <p:txStyles>
    <p:titleStyle>
      <a:lvl1pPr marL="0" algn="l" defTabSz="914400" rtl="0" eaLnBrk="1" latinLnBrk="0" hangingPunct="1">
        <a:lnSpc>
          <a:spcPts val="2500"/>
        </a:lnSpc>
        <a:spcBef>
          <a:spcPct val="0"/>
        </a:spcBef>
        <a:buNone/>
        <a:defRPr lang="en-GB" sz="2500" b="1" kern="0">
          <a:solidFill>
            <a:srgbClr val="005192"/>
          </a:solidFill>
          <a:latin typeface="Arial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ts val="2000"/>
        </a:lnSpc>
        <a:spcBef>
          <a:spcPts val="200"/>
        </a:spcBef>
        <a:buClr>
          <a:schemeClr val="accent4"/>
        </a:buClr>
        <a:buFont typeface="Arial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ts val="2000"/>
        </a:lnSpc>
        <a:spcBef>
          <a:spcPts val="2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ts val="1800"/>
        </a:lnSpc>
        <a:spcBef>
          <a:spcPts val="200"/>
        </a:spcBef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ts val="1600"/>
        </a:lnSpc>
        <a:spcBef>
          <a:spcPts val="0"/>
        </a:spcBef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ts val="1600"/>
        </a:lnSpc>
        <a:spcBef>
          <a:spcPts val="0"/>
        </a:spcBef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ru/url?sa=i&amp;rct=j&amp;q=&amp;esrc=s&amp;source=images&amp;cd=&amp;cad=rja&amp;uact=8&amp;ved=0ahUKEwiQmuq6-ebRAhXLvRQKHakUDOkQjRwIBw&amp;url=http://www.posovetyi.ru/cat/94/21/&amp;bvm=bv.145822982,d.ZGg&amp;psig=AFQjCNGGmZ3_VAqbaaoJ4RcApbapMwnXww&amp;ust=1485765339351574" TargetMode="External"/><Relationship Id="rId13" Type="http://schemas.openxmlformats.org/officeDocument/2006/relationships/hyperlink" Target="http://www.google.ru/url?sa=i&amp;rct=j&amp;q=&amp;esrc=s&amp;source=images&amp;cd=&amp;cad=rja&amp;uact=8&amp;ved=0ahUKEwjJh-j56P3RAhWiYZoKHTxDAWQQjRwIBw&amp;url=http://pngimg.com/img/electronics/laptop&amp;psig=AFQjCNEvWgtKMe-EeO4lIduPK52M6QaUqw&amp;ust=1486551205107458" TargetMode="External"/><Relationship Id="rId3" Type="http://schemas.openxmlformats.org/officeDocument/2006/relationships/diagramLayout" Target="../diagrams/layout2.xml"/><Relationship Id="rId7" Type="http://schemas.openxmlformats.org/officeDocument/2006/relationships/image" Target="../media/image66.png"/><Relationship Id="rId12" Type="http://schemas.openxmlformats.org/officeDocument/2006/relationships/image" Target="../media/image69.jpeg"/><Relationship Id="rId17" Type="http://schemas.openxmlformats.org/officeDocument/2006/relationships/image" Target="../media/image73.png"/><Relationship Id="rId2" Type="http://schemas.openxmlformats.org/officeDocument/2006/relationships/diagramData" Target="../diagrams/data2.xml"/><Relationship Id="rId16" Type="http://schemas.openxmlformats.org/officeDocument/2006/relationships/image" Target="../media/image72.png"/><Relationship Id="rId1" Type="http://schemas.openxmlformats.org/officeDocument/2006/relationships/slideLayout" Target="../slideLayouts/slideLayout102.xml"/><Relationship Id="rId6" Type="http://schemas.microsoft.com/office/2007/relationships/diagramDrawing" Target="../diagrams/drawing2.xml"/><Relationship Id="rId11" Type="http://schemas.openxmlformats.org/officeDocument/2006/relationships/image" Target="../media/image68.png"/><Relationship Id="rId5" Type="http://schemas.openxmlformats.org/officeDocument/2006/relationships/diagramColors" Target="../diagrams/colors2.xml"/><Relationship Id="rId15" Type="http://schemas.openxmlformats.org/officeDocument/2006/relationships/image" Target="../media/image71.jpeg"/><Relationship Id="rId10" Type="http://schemas.openxmlformats.org/officeDocument/2006/relationships/hyperlink" Target="http://www.google.ru/url?sa=i&amp;rct=j&amp;q=&amp;esrc=s&amp;source=images&amp;cd=&amp;cad=rja&amp;uact=8&amp;ved=0ahUKEwjh69rG1f3RAhVFDJoKHdtKAvYQjRwIBw&amp;url=http://pngimg.com/img/objects/tv&amp;psig=AFQjCNHvnW_ZhkuT1w1lr-K1T0YsupB6NA&amp;ust=1486546001154616" TargetMode="Externa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67.jpeg"/><Relationship Id="rId14" Type="http://schemas.openxmlformats.org/officeDocument/2006/relationships/image" Target="../media/image7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0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0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0.png"/><Relationship Id="rId2" Type="http://schemas.openxmlformats.org/officeDocument/2006/relationships/hyperlink" Target="https://www.google.ru/url?sa=i&amp;rct=j&amp;q=&amp;esrc=s&amp;source=images&amp;cd=&amp;cad=rja&amp;uact=8&amp;ved=0ahUKEwiyk8CsyujVAhUKIpoKHc8eCeoQjRwIBw&amp;url=https://akkras.ru/soveti_po_okraski/193903847/&amp;psig=AFQjCNEKBKwa4zbIeHqgrWCOPo9iGB0Kbw&amp;ust=1503413618600512" TargetMode="Externa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hyperlink" Target="http://www.google.ru/url?sa=i&amp;rct=j&amp;q=&amp;esrc=s&amp;source=images&amp;cd=&amp;cad=rja&amp;uact=8&amp;ved=0ahUKEwjiruX0yujVAhVMMZoKHfU4B0QQjRwIBw&amp;url=http://all-for-remont.ru/steny/pokraska-fasada-derevyannogo-doma&amp;psig=AFQjCNHKWK5Z9nZ_aqnc1orcs9nYMQT39w&amp;ust=1503413754661723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" Type="http://schemas.openxmlformats.org/officeDocument/2006/relationships/image" Target="../media/image35.png"/><Relationship Id="rId21" Type="http://schemas.openxmlformats.org/officeDocument/2006/relationships/image" Target="../media/image52.jpe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17" Type="http://schemas.openxmlformats.org/officeDocument/2006/relationships/image" Target="../media/image49.jpeg"/><Relationship Id="rId2" Type="http://schemas.openxmlformats.org/officeDocument/2006/relationships/image" Target="../media/image34.png"/><Relationship Id="rId16" Type="http://schemas.openxmlformats.org/officeDocument/2006/relationships/image" Target="../media/image48.png"/><Relationship Id="rId20" Type="http://schemas.openxmlformats.org/officeDocument/2006/relationships/image" Target="../media/image51.jpeg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19" Type="http://schemas.openxmlformats.org/officeDocument/2006/relationships/hyperlink" Target="http://www.google.ru/url?sa=i&amp;rct=j&amp;q=&amp;esrc=s&amp;source=images&amp;cd=&amp;cad=rja&amp;uact=8&amp;ved=0ahUKEwiVt6_9zZzTAhXC1BoKHaXLCwcQjRwIBw&amp;url=http://lux-srub.com.ua/proekty/ocilindrovannoe-brevno/doma-ob/derevyannyj-dom-terem.html&amp;psig=AFQjCNFM4eqi7HW9_H_RS6680-GcL3rrQg&amp;ust=1492007153652358" TargetMode="External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Relationship Id="rId22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2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0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61.jpeg"/><Relationship Id="rId7" Type="http://schemas.openxmlformats.org/officeDocument/2006/relationships/diagramLayout" Target="../diagrams/layout1.xml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02.xml"/><Relationship Id="rId6" Type="http://schemas.openxmlformats.org/officeDocument/2006/relationships/diagramData" Target="../diagrams/data1.xml"/><Relationship Id="rId5" Type="http://schemas.openxmlformats.org/officeDocument/2006/relationships/image" Target="../media/image63.jpeg"/><Relationship Id="rId10" Type="http://schemas.microsoft.com/office/2007/relationships/diagramDrawing" Target="../diagrams/drawing1.xml"/><Relationship Id="rId4" Type="http://schemas.openxmlformats.org/officeDocument/2006/relationships/image" Target="../media/image62.jpeg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Картинки по запросу wood forest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46"/>
          <a:stretch/>
        </p:blipFill>
        <p:spPr bwMode="auto">
          <a:xfrm>
            <a:off x="0" y="0"/>
            <a:ext cx="9133881" cy="687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6"/>
          <p:cNvSpPr/>
          <p:nvPr/>
        </p:nvSpPr>
        <p:spPr>
          <a:xfrm>
            <a:off x="1133872" y="312708"/>
            <a:ext cx="687625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5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ИНКА</a:t>
            </a:r>
            <a:r>
              <a:rPr lang="en-US" sz="45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1</a:t>
            </a:r>
            <a:r>
              <a:rPr lang="ru-RU" sz="45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r>
              <a:rPr lang="en-US" sz="45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sz="45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1049719"/>
            <a:endParaRPr lang="en-US" sz="4500" b="1" dirty="0" smtClean="0">
              <a:ln w="18415" cmpd="sng">
                <a:solidFill>
                  <a:srgbClr val="622702"/>
                </a:solidFill>
                <a:prstDash val="solid"/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30629" y="4374589"/>
            <a:ext cx="9072748" cy="144655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питка </a:t>
            </a:r>
            <a:r>
              <a:rPr lang="en-US" altLang="ru-RU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otex</a:t>
            </a:r>
            <a:r>
              <a:rPr lang="en-US" altLang="ru-RU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riginal</a:t>
            </a:r>
          </a:p>
          <a:p>
            <a:pPr algn="ctr"/>
            <a:r>
              <a:rPr lang="ru-RU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деревянных поверхностей</a:t>
            </a:r>
            <a:endParaRPr lang="en-US" sz="4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4627" name="Picture 3" descr="L:\Marketing\Brand Pinotex\Logo, Cans\Droplet logo_овальный\Pinotex logo-DROPLET_ vector.png1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6338" y="1597328"/>
            <a:ext cx="2751324" cy="2188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30629" y="6534835"/>
            <a:ext cx="9072748" cy="3231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5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фиденциально, только для внутреннего использования</a:t>
            </a:r>
            <a:endParaRPr lang="en-US" sz="1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087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6"/>
          <p:cNvSpPr/>
          <p:nvPr/>
        </p:nvSpPr>
        <p:spPr>
          <a:xfrm>
            <a:off x="197299" y="193955"/>
            <a:ext cx="859014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49719"/>
            <a:r>
              <a:rPr lang="ru-RU" sz="34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РМАТ УПАКОВКИ</a:t>
            </a:r>
            <a:r>
              <a:rPr lang="en-US" sz="32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9</a:t>
            </a:r>
            <a:r>
              <a:rPr lang="ru-RU" sz="32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 2,7л 0,9л</a:t>
            </a:r>
            <a:r>
              <a:rPr lang="en-US" sz="32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n-US" sz="32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0147" y="1626473"/>
            <a:ext cx="4321878" cy="3595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450585" y="2277626"/>
            <a:ext cx="2333100" cy="2935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504763" y="3290575"/>
            <a:ext cx="1440160" cy="1899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517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ДДЕРЖКА ПРОДУКТА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949800996"/>
              </p:ext>
            </p:extLst>
          </p:nvPr>
        </p:nvGraphicFramePr>
        <p:xfrm>
          <a:off x="1244088" y="1349446"/>
          <a:ext cx="6896669" cy="44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1082707" y="3540269"/>
            <a:ext cx="784900" cy="1055327"/>
            <a:chOff x="-344317" y="-313907"/>
            <a:chExt cx="2582157" cy="368448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4317" y="-313907"/>
              <a:ext cx="2582157" cy="368448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6" name="TextBox 64"/>
            <p:cNvSpPr txBox="1"/>
            <p:nvPr/>
          </p:nvSpPr>
          <p:spPr>
            <a:xfrm>
              <a:off x="-344317" y="2067140"/>
              <a:ext cx="2582157" cy="1301209"/>
            </a:xfrm>
            <a:prstGeom prst="rect">
              <a:avLst/>
            </a:prstGeom>
            <a:solidFill>
              <a:schemeClr val="accent3">
                <a:lumMod val="20000"/>
                <a:lumOff val="80000"/>
                <a:alpha val="69804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ru-RU" sz="1600" dirty="0">
                  <a:solidFill>
                    <a:srgbClr val="000000"/>
                  </a:solidFill>
                  <a:ea typeface="SimSun"/>
                  <a:cs typeface="Times New Roman"/>
                </a:rPr>
                <a:t>Колер-карта</a:t>
              </a:r>
              <a:endParaRPr lang="en-US" sz="1600" dirty="0">
                <a:solidFill>
                  <a:prstClr val="black"/>
                </a:solidFill>
                <a:latin typeface="Times New Roman"/>
                <a:ea typeface="SimSun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01319" y="1352639"/>
            <a:ext cx="1866739" cy="1350621"/>
            <a:chOff x="-4205647" y="2208104"/>
            <a:chExt cx="1866739" cy="1350621"/>
          </a:xfrm>
        </p:grpSpPr>
        <p:pic>
          <p:nvPicPr>
            <p:cNvPr id="11" name="Picture 2" descr="Image result for дачный ответ pn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128332" y="2208104"/>
              <a:ext cx="1712108" cy="990317"/>
            </a:xfrm>
            <a:prstGeom prst="rect">
              <a:avLst/>
            </a:prstGeom>
            <a:solidFill>
              <a:srgbClr val="E4312C"/>
            </a:solidFill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pic>
          <p:nvPicPr>
            <p:cNvPr id="12" name="Picture 2" descr="Image result for TV pn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205647" y="2208104"/>
              <a:ext cx="1866739" cy="1350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1279655" y="2570718"/>
            <a:ext cx="1760565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dirty="0" smtClean="0">
                <a:solidFill>
                  <a:srgbClr val="000000"/>
                </a:solidFill>
              </a:rPr>
              <a:t>Рекламные </a:t>
            </a:r>
          </a:p>
          <a:p>
            <a:r>
              <a:rPr lang="ru-RU" dirty="0" smtClean="0">
                <a:solidFill>
                  <a:srgbClr val="000000"/>
                </a:solidFill>
              </a:rPr>
              <a:t>Интеграции</a:t>
            </a:r>
            <a:endParaRPr lang="en-US" dirty="0" smtClean="0">
              <a:solidFill>
                <a:srgbClr val="000000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6595933" y="1360590"/>
            <a:ext cx="2218189" cy="1605140"/>
            <a:chOff x="6818612" y="1634934"/>
            <a:chExt cx="1947016" cy="1474901"/>
          </a:xfrm>
        </p:grpSpPr>
        <p:pic>
          <p:nvPicPr>
            <p:cNvPr id="15" name="Picture 3"/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208" t="15733" r="15423" b="6250"/>
            <a:stretch/>
          </p:blipFill>
          <p:spPr bwMode="auto">
            <a:xfrm>
              <a:off x="7091103" y="1634934"/>
              <a:ext cx="1402033" cy="861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5" descr="Image result for notebook png">
              <a:hlinkClick r:id="rId13"/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8612" y="1634934"/>
              <a:ext cx="1947016" cy="14749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4" descr="https://www.welovesolo.com/wp-content/uploads/2014/11/p16hjpp1qc108diru10kgcp61i3d9-details.jpg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08" t="5008" r="9239" b="6033"/>
          <a:stretch/>
        </p:blipFill>
        <p:spPr bwMode="auto">
          <a:xfrm>
            <a:off x="6547438" y="3796064"/>
            <a:ext cx="1311046" cy="169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7002923" y="2950061"/>
            <a:ext cx="1760565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dirty="0" smtClean="0">
                <a:solidFill>
                  <a:srgbClr val="000000"/>
                </a:solidFill>
              </a:rPr>
              <a:t>Ролики, Контекст,</a:t>
            </a:r>
          </a:p>
          <a:p>
            <a:r>
              <a:rPr lang="ru-RU" dirty="0" smtClean="0">
                <a:solidFill>
                  <a:srgbClr val="000000"/>
                </a:solidFill>
              </a:rPr>
              <a:t> баннеры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21" name="Picture 9" descr="http://www.picshare.ru/uploads/140310/roVIBSY6DP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7088573" y="4446668"/>
            <a:ext cx="1232912" cy="552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858484" y="3796064"/>
            <a:ext cx="1126136" cy="1416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6907259" y="5455829"/>
            <a:ext cx="1760565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dirty="0" err="1" smtClean="0">
                <a:solidFill>
                  <a:srgbClr val="000000"/>
                </a:solidFill>
              </a:rPr>
              <a:t>Сэмплы</a:t>
            </a:r>
            <a:r>
              <a:rPr lang="ru-RU" dirty="0" smtClean="0">
                <a:solidFill>
                  <a:srgbClr val="000000"/>
                </a:solidFill>
              </a:rPr>
              <a:t>,</a:t>
            </a:r>
          </a:p>
          <a:p>
            <a:r>
              <a:rPr lang="ru-RU" dirty="0" smtClean="0">
                <a:solidFill>
                  <a:srgbClr val="000000"/>
                </a:solidFill>
              </a:rPr>
              <a:t> мастер-классы</a:t>
            </a:r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385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en-US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M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704" y="655259"/>
            <a:ext cx="1837656" cy="5127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78" name="Picture 2" descr="L:\Marketing\Brand Pinotex\POSm\POSM 2018\2018 POS Pinotex - ДИЗАЙНЫ\Pinotex ВЫКРАСЫ\NEW Pinotex Original ВЫКРАСЫ КОНСТРУКТОР\Buklet-konstructor_Vikrasi Pinotex_Original 170x140mm_ Preview\buklet_visual_close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62" y="901841"/>
            <a:ext cx="5701352" cy="3800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579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464160" y="913033"/>
            <a:ext cx="8323282" cy="3641772"/>
            <a:chOff x="467544" y="1155859"/>
            <a:chExt cx="8323282" cy="3641772"/>
          </a:xfrm>
        </p:grpSpPr>
        <p:grpSp>
          <p:nvGrpSpPr>
            <p:cNvPr id="9" name="Group 8"/>
            <p:cNvGrpSpPr/>
            <p:nvPr/>
          </p:nvGrpSpPr>
          <p:grpSpPr>
            <a:xfrm>
              <a:off x="467544" y="1155859"/>
              <a:ext cx="8323282" cy="3641772"/>
              <a:chOff x="467544" y="1155859"/>
              <a:chExt cx="8323282" cy="3641772"/>
            </a:xfrm>
          </p:grpSpPr>
          <p:sp>
            <p:nvSpPr>
              <p:cNvPr id="2" name="Rounded Rectangle 1"/>
              <p:cNvSpPr/>
              <p:nvPr/>
            </p:nvSpPr>
            <p:spPr>
              <a:xfrm>
                <a:off x="4677002" y="1155859"/>
                <a:ext cx="4113824" cy="3641772"/>
              </a:xfrm>
              <a:prstGeom prst="roundRect">
                <a:avLst/>
              </a:prstGeom>
              <a:solidFill>
                <a:srgbClr val="6633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endParaRPr lang="ru-RU" b="1" dirty="0" smtClean="0"/>
              </a:p>
              <a:p>
                <a:endParaRPr lang="ru-RU" b="1" dirty="0"/>
              </a:p>
              <a:p>
                <a:endParaRPr lang="ru-RU" b="1" dirty="0" smtClean="0"/>
              </a:p>
              <a:p>
                <a:endParaRPr lang="ru-RU" b="1" dirty="0"/>
              </a:p>
              <a:p>
                <a:endParaRPr lang="ru-RU" b="1" dirty="0" smtClean="0"/>
              </a:p>
              <a:p>
                <a:endParaRPr lang="ru-RU" b="1" dirty="0"/>
              </a:p>
              <a:p>
                <a:endParaRPr lang="ru-RU" b="1" dirty="0" smtClean="0"/>
              </a:p>
              <a:p>
                <a:endParaRPr lang="ru-RU" b="1" dirty="0"/>
              </a:p>
              <a:p>
                <a:endParaRPr lang="ru-RU" b="1" dirty="0" smtClean="0"/>
              </a:p>
              <a:p>
                <a:pPr algn="ctr"/>
                <a:r>
                  <a:rPr lang="ru-RU" sz="2800" b="1" dirty="0" smtClean="0"/>
                  <a:t>   68</a:t>
                </a:r>
                <a:r>
                  <a:rPr lang="en-US" sz="2800" b="1" dirty="0" smtClean="0"/>
                  <a:t>% </a:t>
                </a:r>
                <a:endParaRPr lang="ru-RU" sz="2800" b="1" dirty="0" smtClean="0"/>
              </a:p>
              <a:p>
                <a:pPr algn="ctr"/>
                <a:r>
                  <a:rPr lang="ru-RU" sz="2800" b="1" dirty="0" smtClean="0"/>
                  <a:t>Ранее окрашенная поверхность</a:t>
                </a:r>
                <a:endParaRPr lang="en-US" sz="2800" dirty="0" smtClean="0"/>
              </a:p>
            </p:txBody>
          </p:sp>
          <p:sp>
            <p:nvSpPr>
              <p:cNvPr id="3" name="Rounded Rectangle 2"/>
              <p:cNvSpPr/>
              <p:nvPr/>
            </p:nvSpPr>
            <p:spPr>
              <a:xfrm>
                <a:off x="467544" y="1155859"/>
                <a:ext cx="4118104" cy="3641772"/>
              </a:xfrm>
              <a:prstGeom prst="roundRect">
                <a:avLst/>
              </a:prstGeom>
              <a:solidFill>
                <a:srgbClr val="6633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en-US" dirty="0" smtClean="0"/>
              </a:p>
              <a:p>
                <a:pPr algn="l"/>
                <a:endParaRPr lang="en-US" dirty="0"/>
              </a:p>
              <a:p>
                <a:pPr algn="l"/>
                <a:endParaRPr lang="en-US" dirty="0" smtClean="0"/>
              </a:p>
              <a:p>
                <a:pPr algn="l"/>
                <a:endParaRPr lang="en-US" dirty="0"/>
              </a:p>
              <a:p>
                <a:pPr algn="l"/>
                <a:endParaRPr lang="en-US" dirty="0" smtClean="0"/>
              </a:p>
              <a:p>
                <a:pPr algn="l"/>
                <a:endParaRPr lang="en-US" dirty="0"/>
              </a:p>
              <a:p>
                <a:pPr algn="l"/>
                <a:endParaRPr lang="en-US" dirty="0" smtClean="0"/>
              </a:p>
              <a:p>
                <a:pPr algn="l"/>
                <a:endParaRPr lang="en-US" dirty="0"/>
              </a:p>
              <a:p>
                <a:pPr algn="l"/>
                <a:endParaRPr lang="en-US" dirty="0" smtClean="0"/>
              </a:p>
              <a:p>
                <a:pPr algn="ctr"/>
                <a:r>
                  <a:rPr lang="en-US" dirty="0" smtClean="0"/>
                  <a:t>  </a:t>
                </a:r>
                <a:r>
                  <a:rPr lang="en-US" sz="2800" b="1" dirty="0" smtClean="0"/>
                  <a:t>32% </a:t>
                </a:r>
                <a:endParaRPr lang="ru-RU" sz="2800" b="1" dirty="0" smtClean="0"/>
              </a:p>
              <a:p>
                <a:pPr algn="ctr"/>
                <a:r>
                  <a:rPr lang="ru-RU" sz="2800" b="1" dirty="0" smtClean="0"/>
                  <a:t>Новая поверхность</a:t>
                </a:r>
                <a:endParaRPr lang="en-US" sz="2800" b="1" dirty="0" smtClean="0"/>
              </a:p>
            </p:txBody>
          </p:sp>
        </p:grpSp>
        <p:pic>
          <p:nvPicPr>
            <p:cNvPr id="4" name="Picture 2" descr="https://d2v9y0dukr6mq2.cloudfront.net/video/thumbnail/1AjMdNf/painter-girl-paint-rural-house-wood-wall-with-paintbrush-in-red_v1v_xyr__S0000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10"/>
            <a:stretch/>
          </p:blipFill>
          <p:spPr bwMode="auto">
            <a:xfrm>
              <a:off x="4796908" y="1361701"/>
              <a:ext cx="3874012" cy="248988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5" name="Picture 4" descr="Image result for красить дерево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590" y="1361701"/>
              <a:ext cx="3874012" cy="248988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</p:grpSp>
      <p:sp>
        <p:nvSpPr>
          <p:cNvPr id="6" name="Text Placeholder 1"/>
          <p:cNvSpPr txBox="1">
            <a:spLocks/>
          </p:cNvSpPr>
          <p:nvPr/>
        </p:nvSpPr>
        <p:spPr>
          <a:xfrm>
            <a:off x="2162948" y="6087821"/>
            <a:ext cx="2808000" cy="384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200"/>
              </a:spcBef>
              <a:buClr>
                <a:schemeClr val="accent4"/>
              </a:buClr>
              <a:buFont typeface="Arial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ts val="20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ts val="1800"/>
              </a:lnSpc>
              <a:spcBef>
                <a:spcPts val="200"/>
              </a:spcBef>
              <a:buClr>
                <a:schemeClr val="accent1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ts val="1600"/>
              </a:lnSpc>
              <a:spcBef>
                <a:spcPts val="0"/>
              </a:spcBef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0" dirty="0" smtClean="0"/>
              <a:t>*</a:t>
            </a:r>
            <a:r>
              <a:rPr lang="en-US" sz="1000" b="0" dirty="0" smtClean="0"/>
              <a:t>U&amp;A 2014 </a:t>
            </a:r>
            <a:r>
              <a:rPr lang="en-US" sz="1000" b="0" dirty="0" err="1" smtClean="0"/>
              <a:t>woodcare</a:t>
            </a:r>
            <a:r>
              <a:rPr lang="en-US" sz="1000" b="0" dirty="0" smtClean="0"/>
              <a:t> consumer research</a:t>
            </a:r>
            <a:endParaRPr lang="en-US" sz="1000" b="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ФЕРА ПРИМЕНЕНИЯ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27678" y="4658285"/>
            <a:ext cx="7491880" cy="145192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9505" tIns="44824" rIns="89505" bIns="44824">
            <a:spAutoFit/>
          </a:bodyPr>
          <a:lstStyle/>
          <a:p>
            <a:pPr marL="0" lvl="3" algn="just" defTabSz="908918" eaLnBrk="0" hangingPunct="0">
              <a:spcBef>
                <a:spcPts val="200"/>
              </a:spcBef>
              <a:spcAft>
                <a:spcPct val="30000"/>
              </a:spcAft>
            </a:pPr>
            <a:r>
              <a:rPr lang="ru-RU" sz="16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А знаете ли вы, что только каждый третий покупатель </a:t>
            </a:r>
            <a:r>
              <a:rPr lang="ru-RU" sz="1600" b="1" spc="50" dirty="0" err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деревозащитных</a:t>
            </a:r>
            <a:r>
              <a:rPr lang="ru-RU" sz="16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 средств использует их для новых поверхностей? </a:t>
            </a:r>
            <a:r>
              <a:rPr lang="ru-RU" sz="1600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Б</a:t>
            </a:r>
            <a:r>
              <a:rPr lang="ru-RU" sz="16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ольшинство покупателей нуждаются в обновлении ранее окрашенных фасадов, заборов, беседок и прочих строений!*</a:t>
            </a:r>
          </a:p>
          <a:p>
            <a:pPr marL="0" lvl="3" algn="just" defTabSz="908918" eaLnBrk="0" hangingPunct="0">
              <a:spcBef>
                <a:spcPts val="200"/>
              </a:spcBef>
              <a:spcAft>
                <a:spcPct val="30000"/>
              </a:spcAft>
            </a:pPr>
            <a:endParaRPr lang="ru-RU" b="1" spc="50" dirty="0" smtClean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663300">
                  <a:alpha val="95000"/>
                </a:srgb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521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689714" y="901841"/>
            <a:ext cx="5097727" cy="565512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89505" tIns="44824" rIns="89505" bIns="44824">
            <a:spAutoFit/>
          </a:bodyPr>
          <a:lstStyle/>
          <a:p>
            <a:pPr marL="0" lvl="3" algn="ctr" defTabSz="908918" eaLnBrk="0" hangingPunct="0">
              <a:spcBef>
                <a:spcPts val="200"/>
              </a:spcBef>
              <a:spcAft>
                <a:spcPct val="30000"/>
              </a:spcAft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Кроющая декоративная пропитка с </a:t>
            </a: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добавлением 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воска, сохраняет красоту древесины.</a:t>
            </a:r>
          </a:p>
          <a:p>
            <a:pPr marL="285750" lvl="3" indent="-285750" defTabSz="908918" eaLnBrk="0" hangingPunct="0">
              <a:spcBef>
                <a:spcPts val="200"/>
              </a:spcBef>
              <a:spcAft>
                <a:spcPct val="30000"/>
              </a:spcAft>
              <a:buFont typeface="Wingdings" panose="05000000000000000000" pitchFamily="2" charset="2"/>
              <a:buChar char="Ø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Глубоко проникает в структуру древесины</a:t>
            </a:r>
          </a:p>
          <a:p>
            <a:pPr marL="285750" lvl="3" indent="-285750" defTabSz="908918" eaLnBrk="0" hangingPunct="0">
              <a:spcBef>
                <a:spcPts val="200"/>
              </a:spcBef>
              <a:spcAft>
                <a:spcPct val="30000"/>
              </a:spcAft>
              <a:buFont typeface="Wingdings" panose="05000000000000000000" pitchFamily="2" charset="2"/>
              <a:buChar char="Ø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Содержит специальные защитные добавки: </a:t>
            </a:r>
            <a:r>
              <a:rPr lang="ru-RU" b="1" u="sng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воск</a:t>
            </a: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 – усиливает  водоотталкивающие 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свойства, </a:t>
            </a:r>
            <a:r>
              <a:rPr lang="ru-RU" b="1" u="sng" spc="50" dirty="0" err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биоциды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– защищают от грибка и плесени</a:t>
            </a:r>
          </a:p>
          <a:p>
            <a:pPr marL="285750" lvl="3" indent="-285750" defTabSz="908918" eaLnBrk="0" hangingPunct="0">
              <a:spcBef>
                <a:spcPts val="200"/>
              </a:spcBef>
              <a:spcAft>
                <a:spcPct val="30000"/>
              </a:spcAft>
              <a:buFont typeface="Wingdings" panose="05000000000000000000" pitchFamily="2" charset="2"/>
              <a:buChar char="Ø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Подходит для новых и ранее окрашенных поверхностей</a:t>
            </a:r>
            <a:endParaRPr lang="ru-RU" b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rgbClr val="663300">
                  <a:alpha val="95000"/>
                </a:srgbClr>
              </a:solidFill>
              <a:cs typeface="Arial" charset="0"/>
            </a:endParaRPr>
          </a:p>
          <a:p>
            <a:pPr marL="285750" lvl="3" indent="-285750" defTabSz="908918" eaLnBrk="0" hangingPunct="0">
              <a:spcBef>
                <a:spcPts val="200"/>
              </a:spcBef>
              <a:spcAft>
                <a:spcPct val="30000"/>
              </a:spcAft>
              <a:buFont typeface="Wingdings" panose="05000000000000000000" pitchFamily="2" charset="2"/>
              <a:buChar char="Ø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Образует красивое полуматовое покрытие</a:t>
            </a:r>
          </a:p>
          <a:p>
            <a:pPr marL="285750" lvl="3" indent="-285750" defTabSz="908918" eaLnBrk="0" hangingPunct="0">
              <a:spcBef>
                <a:spcPts val="200"/>
              </a:spcBef>
              <a:spcAft>
                <a:spcPct val="30000"/>
              </a:spcAft>
              <a:buFont typeface="Wingdings" panose="05000000000000000000" pitchFamily="2" charset="2"/>
              <a:buChar char="Ø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Позволяет перекрасить темный цвет в светлый</a:t>
            </a:r>
          </a:p>
          <a:p>
            <a:pPr marL="0" lvl="3" defTabSz="908918" eaLnBrk="0" hangingPunct="0">
              <a:spcBef>
                <a:spcPts val="200"/>
              </a:spcBef>
              <a:spcAft>
                <a:spcPct val="30000"/>
              </a:spcAft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Степень защиты</a:t>
            </a:r>
            <a:r>
              <a:rPr lang="en-US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:  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до 8 лет!</a:t>
            </a:r>
          </a:p>
        </p:txBody>
      </p:sp>
      <p:sp>
        <p:nvSpPr>
          <p:cNvPr id="8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ИСАНИЕ ПРОДУКТА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2226" name="Picture 2" descr="https://2.downloader.disk.yandex.ru/preview/9fb01a51c612dffb4d8195cf41d14ca64b95a43c7c95516e786c42599125ddd6/inf/ETsqV4wg4WzeRxZPp00nD7PHe1Gs0Hd34q8ossmXvkI7TO-u8WwvffUJw84D0HfY8ZvpjcQURSaOUtFD_OxS-Q%3D%3D?uid=0&amp;filename=Pinotex-2%2C7-mockUp.jpg&amp;disposition=inline&amp;hash=&amp;limit=0&amp;content_type=image%2Fjpeg&amp;tknv=v2&amp;size=1280x857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28" t="5600" r="25146" b="10312"/>
          <a:stretch/>
        </p:blipFill>
        <p:spPr bwMode="auto">
          <a:xfrm>
            <a:off x="403761" y="1317478"/>
            <a:ext cx="3285954" cy="4192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mage00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981" y="5588280"/>
            <a:ext cx="803650" cy="5918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Arrow Connector 2"/>
          <p:cNvCxnSpPr>
            <a:endCxn id="5" idx="0"/>
          </p:cNvCxnSpPr>
          <p:nvPr/>
        </p:nvCxnSpPr>
        <p:spPr>
          <a:xfrm>
            <a:off x="2921179" y="4925683"/>
            <a:ext cx="8627" cy="662597"/>
          </a:xfrm>
          <a:prstGeom prst="straightConnector1">
            <a:avLst/>
          </a:prstGeom>
          <a:ln w="63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163217" y="5761086"/>
            <a:ext cx="13647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2 </a:t>
            </a:r>
            <a:r>
              <a:rPr lang="ru-RU" sz="1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базы:</a:t>
            </a:r>
            <a:r>
              <a:rPr lang="en-US" sz="1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 </a:t>
            </a:r>
            <a:r>
              <a:rPr lang="en-US" sz="1000" b="1" spc="50" dirty="0" err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bw</a:t>
            </a:r>
            <a:r>
              <a:rPr lang="en-US" sz="1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 </a:t>
            </a:r>
            <a:r>
              <a:rPr lang="ru-RU" sz="1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и</a:t>
            </a:r>
            <a:r>
              <a:rPr lang="en-US" sz="1000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 </a:t>
            </a:r>
            <a:r>
              <a:rPr lang="en-US" sz="1000" b="1" spc="50" dirty="0" err="1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rgbClr val="663300">
                    <a:alpha val="95000"/>
                  </a:srgbClr>
                </a:solidFill>
                <a:cs typeface="Arial" charset="0"/>
              </a:rPr>
              <a:t>clr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85496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НЕНИЕ ПРОДУКТА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0178" name="Picture 2" descr="Похожее изображение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725" y="1460665"/>
            <a:ext cx="3713014" cy="2784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0" name="Picture 4" descr="Картинки по запросу окрашенный деревянный дом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795" y="1460663"/>
            <a:ext cx="3727701" cy="2784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53725" y="3957561"/>
            <a:ext cx="3938645" cy="1397255"/>
            <a:chOff x="553725" y="4427489"/>
            <a:chExt cx="3938645" cy="1397255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725" y="4427489"/>
              <a:ext cx="1724534" cy="135807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5"/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813033" y="4427489"/>
              <a:ext cx="1679337" cy="1397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Plus 6"/>
            <p:cNvSpPr/>
            <p:nvPr/>
          </p:nvSpPr>
          <p:spPr>
            <a:xfrm>
              <a:off x="2054589" y="4741315"/>
              <a:ext cx="977645" cy="730417"/>
            </a:xfrm>
            <a:prstGeom prst="mathPlus">
              <a:avLst/>
            </a:prstGeom>
            <a:solidFill>
              <a:srgbClr val="603000"/>
            </a:solidFill>
            <a:ln>
              <a:solidFill>
                <a:srgbClr val="542A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C00000"/>
                </a:solidFill>
              </a:endParaRPr>
            </a:p>
          </p:txBody>
        </p:sp>
      </p:grpSp>
      <p:pic>
        <p:nvPicPr>
          <p:cNvPr id="8" name="Picture 7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31463" y="3957560"/>
            <a:ext cx="1679337" cy="1397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6"/>
          <p:cNvSpPr/>
          <p:nvPr/>
        </p:nvSpPr>
        <p:spPr>
          <a:xfrm>
            <a:off x="333723" y="1060554"/>
            <a:ext cx="85901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е поверхности                    Ранее окрашенные</a:t>
            </a:r>
            <a:endParaRPr lang="en-US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061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ИМУЩЕСТВА ПРОДУКТА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7" t="42723" r="54198" b="32166"/>
          <a:stretch/>
        </p:blipFill>
        <p:spPr bwMode="auto">
          <a:xfrm>
            <a:off x="1150882" y="1229710"/>
            <a:ext cx="4268412" cy="21908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1" t="38686" r="30977" b="20151"/>
          <a:stretch/>
        </p:blipFill>
        <p:spPr bwMode="auto">
          <a:xfrm>
            <a:off x="1150882" y="3715405"/>
            <a:ext cx="4268412" cy="20179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95" t="39777" r="7429" b="20151"/>
          <a:stretch/>
        </p:blipFill>
        <p:spPr bwMode="auto">
          <a:xfrm>
            <a:off x="5730765" y="3623558"/>
            <a:ext cx="1710559" cy="21203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4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94" t="33633" r="22131" b="25539"/>
          <a:stretch/>
        </p:blipFill>
        <p:spPr bwMode="auto">
          <a:xfrm>
            <a:off x="5730765" y="1260240"/>
            <a:ext cx="1710559" cy="21603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701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077699" y="2333301"/>
            <a:ext cx="1215673" cy="1256666"/>
            <a:chOff x="4897234" y="2348910"/>
            <a:chExt cx="1215673" cy="1256666"/>
          </a:xfrm>
        </p:grpSpPr>
        <p:pic>
          <p:nvPicPr>
            <p:cNvPr id="4" name="Picture 3" descr="L:\Marketing\Brand Pinotex\NPD\NPD 2016\New Livery 2.0\3D cans\Preview 9L\ULTRA_9L.png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7234" y="2348910"/>
              <a:ext cx="1215673" cy="956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1" descr="L:\Marketing\Brand Pinotex\Picto 2017\Пиктограммы срок службы\Shields_years &amp; tribryd - Copy (5).pn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254233" y="3023544"/>
              <a:ext cx="501675" cy="582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2810562" y="3019742"/>
            <a:ext cx="1170536" cy="1181021"/>
            <a:chOff x="2619367" y="3023544"/>
            <a:chExt cx="1170536" cy="1181021"/>
          </a:xfrm>
        </p:grpSpPr>
        <p:pic>
          <p:nvPicPr>
            <p:cNvPr id="8" name="Picture 2" descr="L:\Marketing\Brand Pinotex\NPD\NPD 2016\New Livery 2.0\3D cans\Preview 9L\CLASSIC_9L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9367" y="3023544"/>
              <a:ext cx="1170536" cy="921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" descr="L:\Marketing\Brand Pinotex\Picto 2017\Пиктограммы срок службы\Shields_years &amp; tribryd - Copy (5).png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945986" y="3686270"/>
              <a:ext cx="504843" cy="5182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/>
          <p:cNvGrpSpPr/>
          <p:nvPr/>
        </p:nvGrpSpPr>
        <p:grpSpPr>
          <a:xfrm>
            <a:off x="6293372" y="2019742"/>
            <a:ext cx="1232400" cy="1270500"/>
            <a:chOff x="6038269" y="1965887"/>
            <a:chExt cx="1120297" cy="1149437"/>
          </a:xfrm>
        </p:grpSpPr>
        <p:pic>
          <p:nvPicPr>
            <p:cNvPr id="12" name="Picture 11" descr="L:\Marketing\Brand Pinotex\NPD\NPD 2016\New Livery 2.0\3D cans\Preview 9L\NATURAL_9L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8269" y="1965887"/>
              <a:ext cx="1120297" cy="882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7" descr="L:\Marketing\Brand Pinotex\BrandBOOK\Пиктограммы\пиктограммы NEW 2017 (new design)\New Сроки защиты\Shields_years &amp; tribryd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2105" y="2582286"/>
              <a:ext cx="452625" cy="533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" name="Group 14"/>
          <p:cNvGrpSpPr/>
          <p:nvPr/>
        </p:nvGrpSpPr>
        <p:grpSpPr>
          <a:xfrm>
            <a:off x="7628958" y="1659779"/>
            <a:ext cx="765968" cy="1321393"/>
            <a:chOff x="7322776" y="980728"/>
            <a:chExt cx="765968" cy="1321393"/>
          </a:xfrm>
        </p:grpSpPr>
        <p:pic>
          <p:nvPicPr>
            <p:cNvPr id="16" name="Picture 15" descr="L:\Marketing\Brand Pinotex\NPD\NPD 2016\New Livery 2.0\3D cans\Preview 1L\TINOVA_0.75L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2776" y="980728"/>
              <a:ext cx="765968" cy="1145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5" descr="L:\Marketing\Brand Pinotex\BrandBOOK\Пиктограммы\пиктограммы NEW 2017 (new design)\Pinotex_picto_2017 Albert\Preview\Pictos_2017.png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463282" y="1683310"/>
              <a:ext cx="552083" cy="618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1666475" y="3348084"/>
            <a:ext cx="1191849" cy="1417767"/>
            <a:chOff x="1435935" y="3379073"/>
            <a:chExt cx="1191849" cy="1417767"/>
          </a:xfrm>
        </p:grpSpPr>
        <p:pic>
          <p:nvPicPr>
            <p:cNvPr id="20" name="Picture 5" descr="L:\Marketing\Brand Pinotex\NPD\NPD 2017\6996 Standard (affordable)\3D models\Akzo-Nobel-10L-Pinotex-Standard-2.png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435935" y="3379073"/>
              <a:ext cx="1191849" cy="1222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" descr="L:\Marketing\Brand Pinotex\Picto 2017\Пиктограммы срок службы\Shields_years &amp; tribryd - Copy (5).png"/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780178" y="4223678"/>
              <a:ext cx="503361" cy="573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551332" y="3958850"/>
            <a:ext cx="1193072" cy="1279779"/>
            <a:chOff x="320791" y="4002528"/>
            <a:chExt cx="1193072" cy="1279779"/>
          </a:xfrm>
        </p:grpSpPr>
        <p:pic>
          <p:nvPicPr>
            <p:cNvPr id="24" name="Picture 23" descr="L:\Marketing\Brand Pinotex\NPD\NPD 2016\New Livery 2.0\3D cans\Preview 9L\Focus_Aqua_9L.pn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791" y="4002528"/>
              <a:ext cx="1193072" cy="9038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3" descr="L:\Marketing\Brand Pinotex\Picto 2017\Focus Aqua\23.png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649" y="4725144"/>
              <a:ext cx="467742" cy="557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7" name="Straight Connector 26"/>
          <p:cNvCxnSpPr/>
          <p:nvPr/>
        </p:nvCxnSpPr>
        <p:spPr>
          <a:xfrm flipH="1">
            <a:off x="8053150" y="2671767"/>
            <a:ext cx="31894" cy="2952593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6906496" y="3118589"/>
            <a:ext cx="0" cy="2347062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5685535" y="3480679"/>
            <a:ext cx="0" cy="1940283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41493" y="4106472"/>
            <a:ext cx="0" cy="1314490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3389603" y="4190754"/>
            <a:ext cx="0" cy="1230207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2262399" y="4681466"/>
            <a:ext cx="0" cy="766682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108061" y="5233136"/>
            <a:ext cx="0" cy="189760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546330" y="717956"/>
            <a:ext cx="1241042" cy="761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5" name="Straight Connector 34"/>
          <p:cNvCxnSpPr/>
          <p:nvPr/>
        </p:nvCxnSpPr>
        <p:spPr>
          <a:xfrm>
            <a:off x="2321675" y="2232389"/>
            <a:ext cx="0" cy="1248289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8069097" y="1451023"/>
            <a:ext cx="0" cy="266263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97572" y="942939"/>
            <a:ext cx="1340217" cy="833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" name="Straight Connector 37"/>
          <p:cNvCxnSpPr>
            <a:endCxn id="4" idx="0"/>
          </p:cNvCxnSpPr>
          <p:nvPr/>
        </p:nvCxnSpPr>
        <p:spPr>
          <a:xfrm>
            <a:off x="5685535" y="1776060"/>
            <a:ext cx="1" cy="557241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5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97364" y="1136902"/>
            <a:ext cx="1438040" cy="857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0" name="Straight Connector 39"/>
          <p:cNvCxnSpPr/>
          <p:nvPr/>
        </p:nvCxnSpPr>
        <p:spPr>
          <a:xfrm>
            <a:off x="3389603" y="2001062"/>
            <a:ext cx="0" cy="1047792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4376542" y="1973372"/>
            <a:ext cx="26493" cy="1145217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7" descr="http://terem-pro.ru.opt-images.1c-bitrix-cdn.ru/upload/iblock/2a2/2a22d28c210c11aba26c0c0233eda6a7.jpg?1491155550136534"/>
          <p:cNvPicPr>
            <a:picLocks noChangeAspect="1"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496" y="1776060"/>
            <a:ext cx="1276956" cy="77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3" name="Straight Connector 42"/>
          <p:cNvCxnSpPr/>
          <p:nvPr/>
        </p:nvCxnSpPr>
        <p:spPr>
          <a:xfrm>
            <a:off x="1108061" y="2671766"/>
            <a:ext cx="0" cy="1248289"/>
          </a:xfrm>
          <a:prstGeom prst="line">
            <a:avLst/>
          </a:prstGeom>
          <a:ln w="15875">
            <a:solidFill>
              <a:srgbClr val="7EC234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9"/>
          <p:cNvPicPr>
            <a:picLocks noChangeAspect="1" noChangeArrowheads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69809" y="1359499"/>
            <a:ext cx="1322311" cy="821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11" descr="Похожее изображение">
            <a:hlinkClick r:id="rId19"/>
          </p:cNvPr>
          <p:cNvPicPr>
            <a:picLocks noChangeAspect="1" noChangeArrowheads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45987" y="772602"/>
            <a:ext cx="1225251" cy="785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3462142" y="4319444"/>
            <a:ext cx="914400" cy="2627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ru-RU" sz="1200" b="0" dirty="0" smtClean="0">
                <a:solidFill>
                  <a:srgbClr val="C00000"/>
                </a:solidFill>
              </a:rPr>
              <a:t>=паритет </a:t>
            </a:r>
            <a:endParaRPr lang="en-US" sz="1200" b="0" dirty="0" smtClean="0">
              <a:solidFill>
                <a:srgbClr val="C00000"/>
              </a:solidFill>
            </a:endParaRPr>
          </a:p>
          <a:p>
            <a:pPr algn="ctr"/>
            <a:r>
              <a:rPr lang="en-US" sz="1200" b="0" dirty="0" smtClean="0">
                <a:solidFill>
                  <a:srgbClr val="C00000"/>
                </a:solidFill>
              </a:rPr>
              <a:t>Classic</a:t>
            </a:r>
          </a:p>
        </p:txBody>
      </p:sp>
      <p:pic>
        <p:nvPicPr>
          <p:cNvPr id="47" name="Picture 2" descr="https://2.downloader.disk.yandex.ru/preview/9fb0549d3280252f1beaa081974a0b443a16dacbbc829ba42b425b1627cc2936/inf/ETsqV4wg4WzeRxZPp00nD3te_FL6WHm7vMQ1BfUH2F1aUIs1P-u0vogdA-FkLGRZvuRFCrTwh-qrp-BgFGJwRg%3D%3D?uid=0&amp;filename=Pinotex-9-MockUp.jpg&amp;disposition=inline&amp;hash=&amp;limit=0&amp;content_type=image%2Fjpeg&amp;tknv=v2&amp;size=1280x857"/>
          <p:cNvPicPr>
            <a:picLocks noChangeAspect="1" noChangeArrowheads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916384" y="3019742"/>
            <a:ext cx="1142510" cy="981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6"/>
          <p:cNvSpPr/>
          <p:nvPr/>
        </p:nvSpPr>
        <p:spPr>
          <a:xfrm>
            <a:off x="197299" y="193955"/>
            <a:ext cx="85901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32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ссортимент для наружных работ</a:t>
            </a:r>
            <a:endParaRPr lang="en-US" sz="32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95" t="40890" r="7429" b="22411"/>
          <a:stretch/>
        </p:blipFill>
        <p:spPr bwMode="auto">
          <a:xfrm>
            <a:off x="4280088" y="3666082"/>
            <a:ext cx="424563" cy="4819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1108061" y="5624360"/>
            <a:ext cx="7213486" cy="0"/>
          </a:xfrm>
          <a:prstGeom prst="straightConnector1">
            <a:avLst/>
          </a:prstGeom>
          <a:ln w="22225">
            <a:solidFill>
              <a:srgbClr val="00642D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138505" y="5707175"/>
            <a:ext cx="6982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642D"/>
                </a:solidFill>
              </a:rPr>
              <a:t>цена</a:t>
            </a:r>
            <a:endParaRPr lang="en-US" dirty="0">
              <a:solidFill>
                <a:srgbClr val="00642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119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821883"/>
              </p:ext>
            </p:extLst>
          </p:nvPr>
        </p:nvGraphicFramePr>
        <p:xfrm>
          <a:off x="642309" y="2268799"/>
          <a:ext cx="8256190" cy="450692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651238"/>
                <a:gridCol w="1651238"/>
                <a:gridCol w="1651238"/>
                <a:gridCol w="1651238"/>
                <a:gridCol w="1651238"/>
              </a:tblGrid>
              <a:tr h="84503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ь применения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ля наружных рабо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ля наружных</a:t>
                      </a:r>
                      <a:r>
                        <a:rPr lang="ru-RU" sz="1200" baseline="0" dirty="0" smtClean="0"/>
                        <a:t> рабо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Для наружных работ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Для наружных работ </a:t>
                      </a:r>
                      <a:r>
                        <a:rPr lang="en-US" sz="1200" dirty="0" smtClean="0"/>
                        <a:t>(</a:t>
                      </a:r>
                      <a:r>
                        <a:rPr lang="ru-RU" sz="1200" i="1" dirty="0" smtClean="0"/>
                        <a:t>только в системе с грунтовкой </a:t>
                      </a:r>
                      <a:r>
                        <a:rPr lang="en-US" sz="1200" i="1" dirty="0" err="1" smtClean="0"/>
                        <a:t>Pinotex</a:t>
                      </a:r>
                      <a:r>
                        <a:rPr lang="en-US" sz="1200" i="1" baseline="0" dirty="0" smtClean="0"/>
                        <a:t> Base</a:t>
                      </a:r>
                      <a:r>
                        <a:rPr lang="ru-RU" sz="1200" i="1" baseline="0" dirty="0" smtClean="0"/>
                        <a:t>)</a:t>
                      </a:r>
                      <a:endParaRPr lang="en-US" sz="1200" i="1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</a:tr>
              <a:tr h="50447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Тип</a:t>
                      </a:r>
                      <a:r>
                        <a:rPr lang="ru-RU" sz="1200" baseline="0" dirty="0" smtClean="0"/>
                        <a:t> поверхности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овые и ранее</a:t>
                      </a:r>
                      <a:r>
                        <a:rPr lang="ru-RU" sz="1200" baseline="0" dirty="0" smtClean="0"/>
                        <a:t> окрашенные поверхности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Новые поверхности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овые поверхности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овые поверхности</a:t>
                      </a:r>
                      <a:endParaRPr lang="en-US" sz="1200" dirty="0"/>
                    </a:p>
                  </a:txBody>
                  <a:tcPr/>
                </a:tc>
              </a:tr>
              <a:tr h="504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ухой остаток,%</a:t>
                      </a:r>
                      <a:endParaRPr lang="en-US" sz="1200" dirty="0" smtClean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37%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45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0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0%</a:t>
                      </a:r>
                      <a:endParaRPr lang="en-US" sz="1200" dirty="0"/>
                    </a:p>
                  </a:txBody>
                  <a:tcPr/>
                </a:tc>
              </a:tr>
              <a:tr h="59465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Цветовая палитра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0 уникальных оттенков+35 цветов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Classi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9 готовых +36 в колеровке</a:t>
                      </a:r>
                      <a:endParaRPr lang="en-US" sz="1200" dirty="0" smtClean="0"/>
                    </a:p>
                    <a:p>
                      <a:pPr algn="ctr"/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 готовых +36 в колеровке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5 готовых +40 в колеровке</a:t>
                      </a:r>
                      <a:endParaRPr lang="en-US" sz="1200" dirty="0" smtClean="0"/>
                    </a:p>
                  </a:txBody>
                  <a:tcPr/>
                </a:tc>
              </a:tr>
              <a:tr h="34427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рок</a:t>
                      </a:r>
                      <a:r>
                        <a:rPr lang="ru-RU" sz="1200" baseline="0" dirty="0" smtClean="0"/>
                        <a:t> защиты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 ле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 ле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 лет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 лет</a:t>
                      </a:r>
                      <a:endParaRPr lang="en-US" sz="1200" dirty="0"/>
                    </a:p>
                  </a:txBody>
                  <a:tcPr/>
                </a:tc>
              </a:tr>
              <a:tr h="34427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окрытие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олуматовое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 smtClean="0"/>
                        <a:t>полуглянцевое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олуматовое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олуматовое</a:t>
                      </a:r>
                      <a:endParaRPr lang="en-US" sz="1200" dirty="0"/>
                    </a:p>
                  </a:txBody>
                  <a:tcPr/>
                </a:tc>
              </a:tr>
              <a:tr h="84503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пециальные</a:t>
                      </a:r>
                      <a:r>
                        <a:rPr lang="ru-RU" sz="1200" baseline="0" dirty="0" smtClean="0"/>
                        <a:t> добавки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 smtClean="0"/>
                        <a:t>Биоциды</a:t>
                      </a:r>
                      <a:r>
                        <a:rPr lang="ru-RU" sz="1200" dirty="0" smtClean="0"/>
                        <a:t>, </a:t>
                      </a:r>
                      <a:r>
                        <a:rPr lang="ru-RU" sz="1200" baseline="0" dirty="0" smtClean="0"/>
                        <a:t>Воск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err="1" smtClean="0"/>
                        <a:t>Биоциды</a:t>
                      </a:r>
                      <a:r>
                        <a:rPr lang="ru-RU" sz="1200" dirty="0" smtClean="0"/>
                        <a:t>, льняное масло,</a:t>
                      </a:r>
                      <a:r>
                        <a:rPr lang="ru-RU" sz="1200" baseline="0" dirty="0" smtClean="0"/>
                        <a:t> УФ фильтр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 smtClean="0"/>
                        <a:t>Биоциды</a:t>
                      </a:r>
                      <a:endParaRPr lang="en-US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оск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Picture 2" descr="\\mown01.d30.intra\common\Marketing\Brand Pinotex\NPD\NPD 2016\New Livery 2.0\3D cans\3D packs\Preview\CLASSIC_1L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4576" y="760687"/>
            <a:ext cx="1282849" cy="1547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C:\Users\Alaniche\Desktop\Personal\S&amp;M conf 2016\2017\Packshots\v1.p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83" t="20876" r="70207" b="15792"/>
          <a:stretch/>
        </p:blipFill>
        <p:spPr bwMode="auto">
          <a:xfrm>
            <a:off x="7475906" y="789515"/>
            <a:ext cx="1120162" cy="1490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6"/>
          <p:cNvSpPr/>
          <p:nvPr/>
        </p:nvSpPr>
        <p:spPr>
          <a:xfrm>
            <a:off x="197299" y="193955"/>
            <a:ext cx="85901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2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РАВНЕНИЕ С </a:t>
            </a:r>
            <a:r>
              <a:rPr lang="en-US" sz="2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, </a:t>
            </a:r>
            <a:r>
              <a:rPr lang="en-US" sz="2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ASSIC </a:t>
            </a:r>
            <a:r>
              <a:rPr lang="ru-RU" sz="2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</a:t>
            </a:r>
            <a:r>
              <a:rPr lang="en-US" sz="2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LTRA</a:t>
            </a:r>
            <a:endParaRPr lang="en-US" sz="2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78913" y="760687"/>
            <a:ext cx="1004599" cy="1490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 descr="\\mown01.d30.intra\common\Marketing\Brand Pinotex\NPD\NPD 2016\New Livery 2.0\3D cans\3D packs\Preview\ULTRA_1L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6222" y="739145"/>
            <a:ext cx="1336429" cy="1533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788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6"/>
          <p:cNvSpPr/>
          <p:nvPr/>
        </p:nvSpPr>
        <p:spPr>
          <a:xfrm>
            <a:off x="197299" y="193955"/>
            <a:ext cx="85901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40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ОВАЯ ПАЛИТРА</a:t>
            </a:r>
            <a:endParaRPr lang="en-US" sz="40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14149" y="1173707"/>
            <a:ext cx="3568469" cy="4685137"/>
            <a:chOff x="352425" y="928048"/>
            <a:chExt cx="2575433" cy="4087135"/>
          </a:xfrm>
        </p:grpSpPr>
        <p:pic>
          <p:nvPicPr>
            <p:cNvPr id="10" name="Picture 3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41135" y="1637485"/>
              <a:ext cx="2470245" cy="3377698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  <a:extLst/>
          </p:spPr>
        </p:pic>
        <p:sp>
          <p:nvSpPr>
            <p:cNvPr id="11" name="TextBox 10"/>
            <p:cNvSpPr txBox="1"/>
            <p:nvPr/>
          </p:nvSpPr>
          <p:spPr>
            <a:xfrm>
              <a:off x="352425" y="928048"/>
              <a:ext cx="2575433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ru-RU" sz="2000" b="1" dirty="0" smtClean="0">
                  <a:solidFill>
                    <a:srgbClr val="663300"/>
                  </a:solidFill>
                </a:rPr>
                <a:t>1 Коллекция</a:t>
              </a:r>
            </a:p>
            <a:p>
              <a:pPr algn="ctr"/>
              <a:r>
                <a:rPr lang="ru-RU" sz="2000" b="1" dirty="0" smtClean="0">
                  <a:solidFill>
                    <a:srgbClr val="663300"/>
                  </a:solidFill>
                </a:rPr>
                <a:t>50 </a:t>
              </a:r>
              <a:r>
                <a:rPr lang="en-US" sz="2000" b="1" dirty="0" smtClean="0">
                  <a:solidFill>
                    <a:srgbClr val="663300"/>
                  </a:solidFill>
                </a:rPr>
                <a:t>Original </a:t>
              </a:r>
              <a:r>
                <a:rPr lang="ru-RU" sz="2000" b="1" dirty="0" smtClean="0">
                  <a:solidFill>
                    <a:srgbClr val="663300"/>
                  </a:solidFill>
                </a:rPr>
                <a:t>оттенков природы</a:t>
              </a:r>
              <a:endParaRPr lang="en-US" sz="2000" b="1" dirty="0" smtClean="0">
                <a:solidFill>
                  <a:srgbClr val="663300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628084" y="1171420"/>
            <a:ext cx="3568469" cy="4616686"/>
            <a:chOff x="3208453" y="917023"/>
            <a:chExt cx="2575433" cy="4027421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309073" y="1637485"/>
              <a:ext cx="2474813" cy="3306959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76200" cap="sq">
              <a:solidFill>
                <a:srgbClr val="EAEAEA"/>
              </a:solidFill>
              <a:miter lim="800000"/>
            </a:ln>
            <a:effectLst>
              <a:reflection blurRad="12700" stA="33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  <a:extLst/>
          </p:spPr>
        </p:pic>
        <p:sp>
          <p:nvSpPr>
            <p:cNvPr id="14" name="TextBox 13"/>
            <p:cNvSpPr txBox="1"/>
            <p:nvPr/>
          </p:nvSpPr>
          <p:spPr>
            <a:xfrm>
              <a:off x="3208453" y="917023"/>
              <a:ext cx="2575433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ru-RU" sz="2000" b="1" dirty="0">
                  <a:solidFill>
                    <a:srgbClr val="663300"/>
                  </a:solidFill>
                </a:rPr>
                <a:t>2</a:t>
              </a:r>
              <a:r>
                <a:rPr lang="ru-RU" sz="2000" b="1" dirty="0" smtClean="0">
                  <a:solidFill>
                    <a:srgbClr val="663300"/>
                  </a:solidFill>
                </a:rPr>
                <a:t> Коллекция</a:t>
              </a:r>
            </a:p>
            <a:p>
              <a:pPr algn="ctr"/>
              <a:r>
                <a:rPr lang="en-US" sz="2000" b="1" dirty="0" smtClean="0">
                  <a:solidFill>
                    <a:srgbClr val="663300"/>
                  </a:solidFill>
                </a:rPr>
                <a:t>3</a:t>
              </a:r>
              <a:r>
                <a:rPr lang="ru-RU" sz="2000" b="1" dirty="0" smtClean="0">
                  <a:solidFill>
                    <a:srgbClr val="663300"/>
                  </a:solidFill>
                </a:rPr>
                <a:t>5</a:t>
              </a:r>
              <a:r>
                <a:rPr lang="en-US" sz="2000" b="1" dirty="0" smtClean="0">
                  <a:solidFill>
                    <a:srgbClr val="663300"/>
                  </a:solidFill>
                </a:rPr>
                <a:t> </a:t>
              </a:r>
              <a:r>
                <a:rPr lang="ru-RU" sz="2000" b="1" dirty="0" smtClean="0">
                  <a:solidFill>
                    <a:srgbClr val="663300"/>
                  </a:solidFill>
                </a:rPr>
                <a:t>оттенков </a:t>
              </a:r>
              <a:r>
                <a:rPr lang="en-US" sz="2000" b="1" dirty="0" smtClean="0">
                  <a:solidFill>
                    <a:srgbClr val="663300"/>
                  </a:solidFill>
                </a:rPr>
                <a:t>Classi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97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16" name="Picture 4" descr="L:\Marketing\Brand Pinotex\NPD\NPD 2017\6991 Original(opaque)\Colour collection\design\Вода-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371" y="3563248"/>
            <a:ext cx="4058902" cy="289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15" name="Picture 3" descr="L:\Marketing\Brand Pinotex\NPD\NPD 2017\6991 Original(opaque)\Colour collection\design\Растения-3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201" y="3462423"/>
            <a:ext cx="4196535" cy="2994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314" name="Picture 2" descr="L:\Marketing\Brand Pinotex\NPD\NPD 2017\6991 Original(opaque)\Colour collection\design\Ягоды3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707" y="839527"/>
            <a:ext cx="4055565" cy="289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L:\Marketing\Brand Pinotex\NPD\NPD 2017\6991 Original(opaque)\Colour collection\design\Лес-3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048115"/>
            <a:ext cx="4028163" cy="2874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580062512"/>
              </p:ext>
            </p:extLst>
          </p:nvPr>
        </p:nvGraphicFramePr>
        <p:xfrm>
          <a:off x="2215693" y="2311005"/>
          <a:ext cx="4605697" cy="2642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Прямоугольник 6"/>
          <p:cNvSpPr/>
          <p:nvPr/>
        </p:nvSpPr>
        <p:spPr>
          <a:xfrm>
            <a:off x="197299" y="193955"/>
            <a:ext cx="85901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49719"/>
            <a:r>
              <a:rPr lang="ru-RU" sz="24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 оригинальных оттенков</a:t>
            </a:r>
          </a:p>
          <a:p>
            <a:pPr algn="ctr" defTabSz="1049719"/>
            <a:r>
              <a:rPr lang="ru-RU" sz="2400" b="1" dirty="0" smtClean="0">
                <a:ln w="18415" cmpd="sng">
                  <a:solidFill>
                    <a:srgbClr val="622702"/>
                  </a:solidFill>
                  <a:prstDash val="solid"/>
                </a:ln>
                <a:solidFill>
                  <a:srgbClr val="663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удут разделены на 4 тематические категории</a:t>
            </a:r>
            <a:endParaRPr lang="ru-RU" sz="24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1049719"/>
            <a:endParaRPr lang="en-US" sz="2400" b="1" dirty="0">
              <a:ln w="18415" cmpd="sng">
                <a:solidFill>
                  <a:srgbClr val="622702"/>
                </a:solidFill>
                <a:prstDash val="solid"/>
              </a:ln>
              <a:solidFill>
                <a:srgbClr val="6633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035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DecorativePaints_4x3">
  <a:themeElements>
    <a:clrScheme name="AkzoNobel Red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E4312C"/>
      </a:accent1>
      <a:accent2>
        <a:srgbClr val="C3004A"/>
      </a:accent2>
      <a:accent3>
        <a:srgbClr val="F2A6AA"/>
      </a:accent3>
      <a:accent4>
        <a:srgbClr val="F18E00"/>
      </a:accent4>
      <a:accent5>
        <a:srgbClr val="FBC682"/>
      </a:accent5>
      <a:accent6>
        <a:srgbClr val="FFF598"/>
      </a:accent6>
      <a:hlink>
        <a:srgbClr val="008BC5"/>
      </a:hlink>
      <a:folHlink>
        <a:srgbClr val="005192"/>
      </a:folHlink>
    </a:clrScheme>
    <a:fontScheme name="AkzoNob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  <a:custClrLst>
    <a:custClr name="AN Dark Blue">
      <a:srgbClr val="005192"/>
    </a:custClr>
    <a:custClr name="AN Red">
      <a:srgbClr val="E4312C"/>
    </a:custClr>
    <a:custClr name="AN Orange">
      <a:srgbClr val="F18E00"/>
    </a:custClr>
    <a:custClr name="AN Yellow">
      <a:srgbClr val="FECB00"/>
    </a:custClr>
    <a:custClr name="AN Lime">
      <a:srgbClr val="CECD00"/>
    </a:custClr>
    <a:custClr name="AN Green">
      <a:srgbClr val="96BF0D"/>
    </a:custClr>
    <a:custClr name="AN Turquoise">
      <a:srgbClr val="0092BB"/>
    </a:custClr>
    <a:custClr name="AN Purple">
      <a:srgbClr val="56378A"/>
    </a:custClr>
    <a:custClr name="AN Violet">
      <a:srgbClr val="952D98"/>
    </a:custClr>
    <a:custClr name="AN Fuchsia">
      <a:srgbClr val="C3004A"/>
    </a:custClr>
    <a:custClr name="AN Light Blue">
      <a:srgbClr val="008BC5"/>
    </a:custClr>
    <a:custClr name="AN Pale Red">
      <a:srgbClr val="F2A6AA"/>
    </a:custClr>
    <a:custClr name="AN Pale Orange">
      <a:srgbClr val="FBC682"/>
    </a:custClr>
    <a:custClr name="AN Pale Yellow">
      <a:srgbClr val="FFF598"/>
    </a:custClr>
    <a:custClr name="AN Pale Lime">
      <a:srgbClr val="EAE34C"/>
    </a:custClr>
    <a:custClr name="AN Pale Green">
      <a:srgbClr val="D3DE89"/>
    </a:custClr>
    <a:custClr name="AN Pale Turquoise">
      <a:srgbClr val="55BECF"/>
    </a:custClr>
    <a:custClr name="AN Pale Purple">
      <a:srgbClr val="C5BBDA"/>
    </a:custClr>
    <a:custClr name="AN Pale Violet">
      <a:srgbClr val="C966CD"/>
    </a:custClr>
    <a:custClr name="AN Pale Fuchsia">
      <a:srgbClr val="E64487"/>
    </a:custClr>
    <a:custClr name="AN Gray">
      <a:srgbClr val="868688"/>
    </a:custClr>
    <a:custClr name="AN Gray Blue">
      <a:srgbClr val="44697D"/>
    </a:custClr>
    <a:custClr name=" ">
      <a:srgbClr val="FFFFFF"/>
    </a:custClr>
    <a:custClr name=" ">
      <a:srgbClr val="FFFFFF"/>
    </a:custClr>
    <a:custClr name=" ">
      <a:srgbClr val="FFFFFF"/>
    </a:custClr>
    <a:custClr name="AN Khaki">
      <a:srgbClr val="5B6334"/>
    </a:custClr>
    <a:custClr name="AN Brown">
      <a:srgbClr val="80331B"/>
    </a:custClr>
    <a:custClr name=" ">
      <a:srgbClr val="FFFFFF"/>
    </a:custClr>
    <a:custClr name=" ">
      <a:srgbClr val="FFFFFF"/>
    </a:custClr>
    <a:custClr name=" ">
      <a:srgbClr val="FFFFFF"/>
    </a:custClr>
    <a:custClr name="AN Pale Gray">
      <a:srgbClr val="B7B9BA"/>
    </a:custClr>
    <a:custClr name="AN Pale Gray Blue">
      <a:srgbClr val="B9C9D0"/>
    </a:custClr>
    <a:custClr name=" ">
      <a:srgbClr val="FFFFFF"/>
    </a:custClr>
    <a:custClr name=" ">
      <a:srgbClr val="FFFFFF"/>
    </a:custClr>
    <a:custClr name=" ">
      <a:srgbClr val="FFFFFF"/>
    </a:custClr>
    <a:custClr name="AN Pale Khaki">
      <a:srgbClr val="CBCFB3"/>
    </a:custClr>
    <a:custClr name="AN Pale Brown">
      <a:srgbClr val="BD8E6E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xmlns="" name="AN_DecorativePaints_Template_4x3.potx" id="{E8A1553A-C52E-46C7-84B4-996F2DFCF45A}" vid="{F24116BC-B667-4FC0-8448-250FFD6E4B32}"/>
    </a:ext>
  </a:extLst>
</a:theme>
</file>

<file path=ppt/theme/theme2.xml><?xml version="1.0" encoding="utf-8"?>
<a:theme xmlns:a="http://schemas.openxmlformats.org/drawingml/2006/main" name="7_AN_Template_4x3_Blue">
  <a:themeElements>
    <a:clrScheme name="AN Blue jan 2013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005192"/>
      </a:accent1>
      <a:accent2>
        <a:srgbClr val="008BC5"/>
      </a:accent2>
      <a:accent3>
        <a:srgbClr val="0092BB"/>
      </a:accent3>
      <a:accent4>
        <a:srgbClr val="55BECF"/>
      </a:accent4>
      <a:accent5>
        <a:srgbClr val="44697D"/>
      </a:accent5>
      <a:accent6>
        <a:srgbClr val="B9C9D0"/>
      </a:accent6>
      <a:hlink>
        <a:srgbClr val="008BC5"/>
      </a:hlink>
      <a:folHlink>
        <a:srgbClr val="005192"/>
      </a:folHlink>
    </a:clrScheme>
    <a:fontScheme name="General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4_AN_Template_4x3_Blue">
  <a:themeElements>
    <a:clrScheme name="Elementarny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General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9</Words>
  <Application>Microsoft Office PowerPoint</Application>
  <PresentationFormat>On-screen Show (4:3)</PresentationFormat>
  <Paragraphs>109</Paragraphs>
  <Slides>1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N_DecorativePaints_4x3</vt:lpstr>
      <vt:lpstr>7_AN_Template_4x3_Blue</vt:lpstr>
      <vt:lpstr>4_AN_Template_4x3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max. 2 lines Arial Bold 56pt</dc:title>
  <dc:creator>CAV</dc:creator>
  <cp:lastModifiedBy>Alanicheva, E. (Elena)</cp:lastModifiedBy>
  <cp:revision>187</cp:revision>
  <dcterms:created xsi:type="dcterms:W3CDTF">2016-05-23T09:49:46Z</dcterms:created>
  <dcterms:modified xsi:type="dcterms:W3CDTF">2018-02-12T08:58:47Z</dcterms:modified>
</cp:coreProperties>
</file>